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4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5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6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7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8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theme/theme9.xml" ContentType="application/vnd.openxmlformats-officedocument.theme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1" r:id="rId1"/>
    <p:sldMasterId id="2147483688" r:id="rId2"/>
    <p:sldMasterId id="2147483710" r:id="rId3"/>
    <p:sldMasterId id="2147483749" r:id="rId4"/>
    <p:sldMasterId id="2147483789" r:id="rId5"/>
    <p:sldMasterId id="2147483812" r:id="rId6"/>
    <p:sldMasterId id="2147483820" r:id="rId7"/>
    <p:sldMasterId id="2147483849" r:id="rId8"/>
    <p:sldMasterId id="2147483877" r:id="rId9"/>
    <p:sldMasterId id="2147483889" r:id="rId10"/>
    <p:sldMasterId id="2147483906" r:id="rId11"/>
  </p:sldMasterIdLst>
  <p:notesMasterIdLst>
    <p:notesMasterId r:id="rId37"/>
  </p:notesMasterIdLst>
  <p:handoutMasterIdLst>
    <p:handoutMasterId r:id="rId38"/>
  </p:handoutMasterIdLst>
  <p:sldIdLst>
    <p:sldId id="5973" r:id="rId12"/>
    <p:sldId id="5988" r:id="rId13"/>
    <p:sldId id="1281" r:id="rId14"/>
    <p:sldId id="1324" r:id="rId15"/>
    <p:sldId id="1325" r:id="rId16"/>
    <p:sldId id="1312" r:id="rId17"/>
    <p:sldId id="1313" r:id="rId18"/>
    <p:sldId id="1305" r:id="rId19"/>
    <p:sldId id="1283" r:id="rId20"/>
    <p:sldId id="1292" r:id="rId21"/>
    <p:sldId id="1295" r:id="rId22"/>
    <p:sldId id="1296" r:id="rId23"/>
    <p:sldId id="1284" r:id="rId24"/>
    <p:sldId id="1285" r:id="rId25"/>
    <p:sldId id="1316" r:id="rId26"/>
    <p:sldId id="1311" r:id="rId27"/>
    <p:sldId id="1310" r:id="rId28"/>
    <p:sldId id="1315" r:id="rId29"/>
    <p:sldId id="1298" r:id="rId30"/>
    <p:sldId id="1320" r:id="rId31"/>
    <p:sldId id="1299" r:id="rId32"/>
    <p:sldId id="5991" r:id="rId33"/>
    <p:sldId id="5992" r:id="rId34"/>
    <p:sldId id="5990" r:id="rId35"/>
    <p:sldId id="5987" r:id="rId3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ima Samad" initials="SS" lastIdx="59" clrIdx="0">
    <p:extLst>
      <p:ext uri="{19B8F6BF-5375-455C-9EA6-DF929625EA0E}">
        <p15:presenceInfo xmlns:p15="http://schemas.microsoft.com/office/powerpoint/2012/main" userId="S-1-5-21-3872124399-1432461711-1771973162-8660" providerId="AD"/>
      </p:ext>
    </p:extLst>
  </p:cmAuthor>
  <p:cmAuthor id="2" name="Scott Hill" initials="SH" lastIdx="67" clrIdx="1">
    <p:extLst>
      <p:ext uri="{19B8F6BF-5375-455C-9EA6-DF929625EA0E}">
        <p15:presenceInfo xmlns:p15="http://schemas.microsoft.com/office/powerpoint/2012/main" userId="S-1-5-21-3872124399-1432461711-1771973162-8725" providerId="AD"/>
      </p:ext>
    </p:extLst>
  </p:cmAuthor>
  <p:cmAuthor id="3" name="Scott Hill" initials="SH [2]" lastIdx="7" clrIdx="2">
    <p:extLst>
      <p:ext uri="{19B8F6BF-5375-455C-9EA6-DF929625EA0E}">
        <p15:presenceInfo xmlns:p15="http://schemas.microsoft.com/office/powerpoint/2012/main" userId="Scott Hil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9FB60E9-6FEC-4744-B544-D1D108D7E3E0}" v="28" dt="2019-04-08T10:53:46.1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428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16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E94F352-092C-4EE4-9346-8FFEAA263D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CA45B7-1687-4FFE-B8FD-E4FE983642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550BF8-72D3-403A-B07D-4781B18631FC}" type="datetimeFigureOut">
              <a:rPr lang="en-GB" smtClean="0"/>
              <a:t>08/04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350CAF-1561-42B8-B2E2-696BC741D8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89E74C-2401-4BF7-8D34-F8E45A5F00A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FBFEB6-03DF-4AD4-9048-84F97292D66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714745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F4432B-E0AD-4B3B-AF86-70136AB338C1}" type="datetimeFigureOut">
              <a:rPr lang="en-GB" smtClean="0"/>
              <a:t>08/04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3C8DFC-E0B1-4CA4-A8C0-659C155075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090080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5.emf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40.jpg"/><Relationship Id="rId4" Type="http://schemas.openxmlformats.org/officeDocument/2006/relationships/image" Target="../media/image39.jp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3.jp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tif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tif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tif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emf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tif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8.emf"/><Relationship Id="rId4" Type="http://schemas.openxmlformats.org/officeDocument/2006/relationships/oleObject" Target="../embeddings/oleObject1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008"/>
            <a:ext cx="12192000" cy="6855984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263886" y="4618990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2966772"/>
            <a:ext cx="12192000" cy="3890220"/>
          </a:xfrm>
          <a:prstGeom prst="rect">
            <a:avLst/>
          </a:prstGeom>
          <a:gradFill>
            <a:gsLst>
              <a:gs pos="0">
                <a:srgbClr val="010A07">
                  <a:alpha val="0"/>
                </a:srgbClr>
              </a:gs>
              <a:gs pos="100000">
                <a:srgbClr val="010A07">
                  <a:alpha val="92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65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4576556"/>
            <a:ext cx="8354964" cy="1255173"/>
          </a:xfrm>
          <a:noFill/>
        </p:spPr>
        <p:txBody>
          <a:bodyPr lIns="146304" tIns="91440" rIns="146304" bIns="0" anchor="b" anchorCtr="0"/>
          <a:lstStyle>
            <a:lvl1pPr marL="0" algn="l" defTabSz="896214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5840965"/>
            <a:ext cx="8354964" cy="476135"/>
          </a:xfrm>
        </p:spPr>
        <p:txBody>
          <a:bodyPr tIns="0" bIns="109728">
            <a:noAutofit/>
          </a:bodyPr>
          <a:lstStyle>
            <a:lvl1pPr marL="0" indent="0" algn="l" defTabSz="896214" rtl="0" eaLnBrk="1" latinLnBrk="0" hangingPunct="1">
              <a:spcBef>
                <a:spcPts val="0"/>
              </a:spcBef>
              <a:buNone/>
              <a:defRPr lang="en-US" sz="2451" kern="1200" spc="-147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529" y="312533"/>
            <a:ext cx="1601410" cy="51641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0476" y="5645716"/>
            <a:ext cx="2004978" cy="737522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97BCE6-E00F-4A49-B3BB-5AAFD6411E1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FF0A7C2-12B9-4AF8-A7F5-DFD4E93065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77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1" y="6170060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solidFill>
                  <a:schemeClr val="tx1">
                    <a:lumMod val="25000"/>
                    <a:lumOff val="75000"/>
                  </a:schemeClr>
                </a:solidFill>
                <a:cs typeface="Segoe UI" pitchFamily="34" charset="0"/>
              </a:rPr>
              <a:t>©</a:t>
            </a:r>
            <a:r>
              <a:rPr lang="en-US" sz="686" baseline="0">
                <a:solidFill>
                  <a:schemeClr val="tx1">
                    <a:lumMod val="25000"/>
                    <a:lumOff val="75000"/>
                  </a:schemeClr>
                </a:solidFill>
                <a:cs typeface="Segoe UI" pitchFamily="34" charset="0"/>
              </a:rPr>
              <a:t> Copyright</a:t>
            </a:r>
            <a:r>
              <a:rPr lang="en-US" sz="686">
                <a:solidFill>
                  <a:schemeClr val="tx1">
                    <a:lumMod val="25000"/>
                    <a:lumOff val="75000"/>
                  </a:schemeClr>
                </a:solidFill>
                <a:cs typeface="Segoe UI" pitchFamily="34" charset="0"/>
              </a:rPr>
              <a:t> Microsoft Corporation. All rights reserved.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64" y="2679588"/>
            <a:ext cx="4074608" cy="149882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EB2C29-C000-4AE4-A654-0A8745B846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F0A7C2-12B9-4AF8-A7F5-DFD4E93065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134124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BDF1DC1-6319-E742-86BB-EE3D80CF11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4" y="1108104"/>
            <a:ext cx="11018520" cy="307777"/>
          </a:xfrm>
        </p:spPr>
        <p:txBody>
          <a:bodyPr/>
          <a:lstStyle>
            <a:lvl1pPr marL="0" indent="0">
              <a:buNone/>
              <a:defRPr sz="2000" b="1" i="0">
                <a:solidFill>
                  <a:schemeClr val="accent3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00761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963132334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6" y="1187646"/>
            <a:ext cx="11655078" cy="1612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69666" y="6567184"/>
            <a:ext cx="3452676" cy="15786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6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968035458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9268" y="291068"/>
            <a:ext cx="6769045" cy="5539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129267" y="4773828"/>
            <a:ext cx="6769045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2000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31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9384" y="2122072"/>
            <a:ext cx="5553007" cy="2374698"/>
          </a:xfrm>
        </p:spPr>
        <p:txBody>
          <a:bodyPr wrap="square" lIns="0" tIns="0" rIns="0" bIns="0">
            <a:noAutofit/>
          </a:bodyPr>
          <a:lstStyle>
            <a:lvl1pPr marL="0" marR="0" indent="0" algn="l" defTabSz="914192" rtl="0" eaLnBrk="1" fontAlgn="auto" latinLnBrk="0" hangingPunct="1">
              <a:lnSpc>
                <a:spcPct val="100000"/>
              </a:lnSpc>
              <a:spcBef>
                <a:spcPts val="1961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54" marR="0" indent="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pt-BR"/>
              <a:t>Subhead Segoe UI 26</a:t>
            </a:r>
          </a:p>
          <a:p>
            <a:pPr lvl="0"/>
            <a:r>
              <a:rPr lang="pt-BR"/>
              <a:t>Subhead Segoe UI 26</a:t>
            </a:r>
          </a:p>
          <a:p>
            <a:pPr lvl="0"/>
            <a:r>
              <a:rPr lang="pt-BR"/>
              <a:t>Subhead Segoe UI 26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E187AA-EF04-4AB1-BC58-089B2A33C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384" y="438786"/>
            <a:ext cx="5553007" cy="74105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A12A0E8-1E58-4A65-BA42-BEF0F69D25C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09611" y="2"/>
            <a:ext cx="5982390" cy="68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8244545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1187621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2982008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646494"/>
            <a:ext cx="12191377" cy="1211506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03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3192" y="6087890"/>
            <a:ext cx="1427788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517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0" y="1189177"/>
            <a:ext cx="11655078" cy="2263268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86198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3" y="1187644"/>
            <a:ext cx="11655078" cy="22665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3154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941" b="0">
                <a:latin typeface="+mn-lt"/>
              </a:defRPr>
            </a:lvl1pPr>
            <a:lvl2pPr marL="250553" indent="0">
              <a:buFont typeface="Wingdings" panose="05000000000000000000" pitchFamily="2" charset="2"/>
              <a:buNone/>
              <a:defRPr sz="2353" b="0"/>
            </a:lvl2pPr>
            <a:lvl3pPr marL="441968" indent="0">
              <a:buFont typeface="Wingdings" panose="05000000000000000000" pitchFamily="2" charset="2"/>
              <a:buNone/>
              <a:tabLst/>
              <a:defRPr sz="2157" b="0"/>
            </a:lvl3pPr>
            <a:lvl4pPr marL="639608" indent="0">
              <a:buFont typeface="Wingdings" panose="05000000000000000000" pitchFamily="2" charset="2"/>
              <a:buNone/>
              <a:defRPr sz="2157" b="0"/>
            </a:lvl4pPr>
            <a:lvl5pPr marL="837250" indent="0">
              <a:buFont typeface="Wingdings" panose="05000000000000000000" pitchFamily="2" charset="2"/>
              <a:buNone/>
              <a:tabLst/>
              <a:defRPr sz="2157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0" indent="0">
              <a:spcBef>
                <a:spcPts val="1200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0553" indent="0">
              <a:buFont typeface="Arial" panose="020B0604020202020204" pitchFamily="34" charset="0"/>
              <a:buNone/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41968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39608" indent="0">
              <a:buFont typeface="Arial" panose="020B0604020202020204" pitchFamily="34" charset="0"/>
              <a:buNone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37250" indent="0">
              <a:buFont typeface="Arial" panose="020B0604020202020204" pitchFamily="34" charset="0"/>
              <a:buNone/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04217" marR="0" lvl="0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Click to edit Master text styles</a:t>
            </a:r>
          </a:p>
          <a:p>
            <a:pPr marL="504217" marR="0" lvl="1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Second level</a:t>
            </a:r>
          </a:p>
          <a:p>
            <a:pPr marL="504217" marR="0" lvl="2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Third level</a:t>
            </a:r>
          </a:p>
          <a:p>
            <a:pPr marL="504217" marR="0" lvl="3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ourth level</a:t>
            </a:r>
          </a:p>
          <a:p>
            <a:pPr marL="504217" marR="0" lvl="4" indent="-504217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570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9241" y="1187644"/>
            <a:ext cx="5378548" cy="2115402"/>
          </a:xfrm>
        </p:spPr>
        <p:txBody>
          <a:bodyPr wrap="square">
            <a:spAutoFit/>
          </a:bodyPr>
          <a:lstStyle>
            <a:lvl1pPr marL="227209" indent="-227209">
              <a:spcBef>
                <a:spcPts val="1200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941" b="0">
                <a:latin typeface="+mn-lt"/>
              </a:defRPr>
            </a:lvl1pPr>
            <a:lvl2pPr marL="418625" indent="-168072">
              <a:buFont typeface="Wingdings" panose="05000000000000000000" pitchFamily="2" charset="2"/>
              <a:buChar char=""/>
              <a:defRPr sz="2353" b="0"/>
            </a:lvl2pPr>
            <a:lvl3pPr marL="627160" indent="-185191">
              <a:buFont typeface="Wingdings" panose="05000000000000000000" pitchFamily="2" charset="2"/>
              <a:buChar char=""/>
              <a:tabLst/>
              <a:defRPr sz="2157" b="0"/>
            </a:lvl3pPr>
            <a:lvl4pPr marL="812350" indent="-172742">
              <a:buFont typeface="Wingdings" panose="05000000000000000000" pitchFamily="2" charset="2"/>
              <a:buChar char=""/>
              <a:defRPr sz="2157" b="0"/>
            </a:lvl4pPr>
            <a:lvl5pPr marL="1003766" indent="-166517">
              <a:buFont typeface="Wingdings" panose="05000000000000000000" pitchFamily="2" charset="2"/>
              <a:buChar char=""/>
              <a:tabLst/>
              <a:defRPr sz="2157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544214" y="1187644"/>
            <a:ext cx="5378548" cy="2429576"/>
          </a:xfrm>
        </p:spPr>
        <p:txBody>
          <a:bodyPr wrap="square">
            <a:spAutoFit/>
          </a:bodyPr>
          <a:lstStyle>
            <a:lvl1pPr marL="281677" indent="-281677">
              <a:spcBef>
                <a:spcPts val="1200"/>
              </a:spcBef>
              <a:buClr>
                <a:schemeClr val="tx1"/>
              </a:buClr>
              <a:buFont typeface="Arial" pitchFamily="34" charset="0"/>
              <a:buChar char="•"/>
              <a:defRPr lang="en-US" sz="2941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86698" indent="-336145">
              <a:defRPr lang="en-US" sz="2353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78113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75753" indent="-336145"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73395" indent="-336145">
              <a:tabLst/>
              <a:defRPr lang="en-US" sz="2157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27209" marR="0" lvl="0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227209" marR="0" lvl="1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27209" marR="0" lvl="2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27209" marR="0" lvl="3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27209" marR="0" lvl="4" indent="-227209" algn="l" defTabSz="914367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1338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9" y="228602"/>
            <a:ext cx="11151917" cy="66638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9" y="1447800"/>
            <a:ext cx="11151917" cy="2066271"/>
          </a:xfrm>
          <a:prstGeom prst="rect">
            <a:avLst/>
          </a:prstGeom>
        </p:spPr>
        <p:txBody>
          <a:bodyPr/>
          <a:lstStyle>
            <a:lvl1pPr marL="284055" indent="-284055">
              <a:buFont typeface="Wingdings" pitchFamily="2" charset="2"/>
              <a:buChar char=""/>
              <a:defRPr sz="4000"/>
            </a:lvl1pPr>
            <a:lvl2pPr marL="517327" indent="-233273">
              <a:buFont typeface="Wingdings" pitchFamily="2" charset="2"/>
              <a:buChar char=""/>
              <a:defRPr>
                <a:latin typeface="+mn-lt"/>
              </a:defRPr>
            </a:lvl2pPr>
            <a:lvl3pPr marL="741078" indent="-223752">
              <a:buFont typeface="Wingdings" pitchFamily="2" charset="2"/>
              <a:buChar char=""/>
              <a:tabLst/>
              <a:defRPr>
                <a:latin typeface="+mn-lt"/>
              </a:defRPr>
            </a:lvl3pPr>
            <a:lvl4pPr marL="914049" indent="-172971">
              <a:buFont typeface="Wingdings" pitchFamily="2" charset="2"/>
              <a:buChar char=""/>
              <a:defRPr>
                <a:latin typeface="+mn-lt"/>
              </a:defRPr>
            </a:lvl4pPr>
            <a:lvl5pPr marL="1087020" indent="-172971">
              <a:buFont typeface="Wingdings" pitchFamily="2" charset="2"/>
              <a:buChar char=""/>
              <a:tabLst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620F5A-00F1-445F-9E6A-FF09415E23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F0A7C2-12B9-4AF8-A7F5-DFD4E93065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564055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182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240" y="3877277"/>
            <a:ext cx="9860674" cy="724246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9123586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084186"/>
            <a:ext cx="9859116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058" b="0" kern="1200" cap="none" spc="-98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032867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7963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39" y="2084172"/>
            <a:ext cx="11653523" cy="1158793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058" spc="-98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70597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9240" y="2686648"/>
            <a:ext cx="4795873" cy="1484704"/>
          </a:xfrm>
        </p:spPr>
        <p:txBody>
          <a:bodyPr wrap="square" anchor="ctr">
            <a:spAutoFit/>
          </a:bodyPr>
          <a:lstStyle>
            <a:lvl1pPr>
              <a:defRPr sz="4705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334350" y="0"/>
            <a:ext cx="6857650" cy="68561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6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85792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720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57194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0302" y="289511"/>
            <a:ext cx="6904778" cy="899665"/>
          </a:xfrm>
        </p:spPr>
        <p:txBody>
          <a:bodyPr/>
          <a:lstStyle>
            <a:lvl1pPr>
              <a:defRPr sz="392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20303" y="4773828"/>
            <a:ext cx="6904016" cy="1793104"/>
          </a:xfrm>
        </p:spPr>
        <p:txBody>
          <a:bodyPr wrap="square">
            <a:noAutofit/>
          </a:bodyPr>
          <a:lstStyle>
            <a:lvl1pPr marL="0" indent="0">
              <a:spcBef>
                <a:spcPts val="1765"/>
              </a:spcBef>
              <a:buNone/>
              <a:defRPr sz="1961"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828867" cy="685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152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189176"/>
            <a:ext cx="12192000" cy="5668824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2" tIns="45722" rIns="45722" bIns="4572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69239" y="1197322"/>
            <a:ext cx="11653522" cy="2225866"/>
          </a:xfrm>
        </p:spPr>
        <p:txBody>
          <a:bodyPr/>
          <a:lstStyle>
            <a:lvl1pPr marL="0" indent="0">
              <a:buNone/>
              <a:defRPr sz="3235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3972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7309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79851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30292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0382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19251" y="301691"/>
            <a:ext cx="11151917" cy="78034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4" name="Frame 3"/>
          <p:cNvSpPr/>
          <p:nvPr userDrawn="1"/>
        </p:nvSpPr>
        <p:spPr bwMode="auto">
          <a:xfrm>
            <a:off x="-11148" y="0"/>
            <a:ext cx="12203151" cy="6858000"/>
          </a:xfrm>
          <a:prstGeom prst="frame">
            <a:avLst>
              <a:gd name="adj1" fmla="val 2075"/>
            </a:avLst>
          </a:prstGeom>
          <a:solidFill>
            <a:schemeClr val="bg1">
              <a:lumMod val="85000"/>
              <a:alpha val="8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161" tIns="143331" rIns="179161" bIns="14333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3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2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26498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050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69239" y="1189177"/>
            <a:ext cx="11653523" cy="2396047"/>
          </a:xfrm>
          <a:prstGeom prst="rect">
            <a:avLst/>
          </a:prstGeom>
        </p:spPr>
        <p:txBody>
          <a:bodyPr/>
          <a:lstStyle>
            <a:lvl1pPr marL="284790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352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60241" indent="-275453">
              <a:buClr>
                <a:schemeClr val="tx1"/>
              </a:buClr>
              <a:buSzPct val="90000"/>
              <a:buFont typeface="Arial" pitchFamily="34" charset="0"/>
              <a:buChar char="•"/>
              <a:defRPr sz="3137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45031" indent="-284790">
              <a:buClr>
                <a:schemeClr val="tx1"/>
              </a:buClr>
              <a:buSzPct val="90000"/>
              <a:buFont typeface="Arial" pitchFamily="34" charset="0"/>
              <a:buChar char="•"/>
              <a:defRPr sz="2745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69128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2353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293225" indent="-224097">
              <a:buClr>
                <a:schemeClr val="tx1"/>
              </a:buClr>
              <a:buSzPct val="90000"/>
              <a:buFont typeface="Arial" pitchFamily="34" charset="0"/>
              <a:buChar char="•"/>
              <a:defRPr sz="1961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38876"/>
            <a:ext cx="12192001" cy="619125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27" spc="-50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49840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9" y="620432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074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9" y="1882336"/>
            <a:ext cx="4758211" cy="60353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07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19643" indent="0">
              <a:buNone/>
              <a:defRPr/>
            </a:lvl2pPr>
            <a:lvl3pPr marL="439283" indent="0">
              <a:buNone/>
              <a:defRPr/>
            </a:lvl3pPr>
            <a:lvl4pPr marL="658927" indent="0">
              <a:buNone/>
              <a:defRPr/>
            </a:lvl4pPr>
            <a:lvl5pPr marL="878569" indent="0">
              <a:buNone/>
              <a:defRPr/>
            </a:lvl5pPr>
          </a:lstStyle>
          <a:p>
            <a:pPr lvl="0"/>
            <a:r>
              <a:rPr lang="pt-BR"/>
              <a:t>Subhead Segoe UI Regular 20/24. Em volor resequaectur.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2707600"/>
            <a:ext cx="4758210" cy="2489596"/>
          </a:xfrm>
        </p:spPr>
        <p:txBody>
          <a:bodyPr lIns="0" tIns="0" rIns="0" bIns="0"/>
          <a:lstStyle>
            <a:lvl1pPr marL="274554" indent="-274554">
              <a:lnSpc>
                <a:spcPts val="1729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1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29"/>
              </a:lnSpc>
              <a:spcBef>
                <a:spcPts val="0"/>
              </a:spcBef>
              <a:buNone/>
              <a:defRPr sz="1345">
                <a:solidFill>
                  <a:schemeClr val="tx1"/>
                </a:solidFill>
              </a:defRPr>
            </a:lvl2pPr>
            <a:lvl3pPr marL="439283" indent="0">
              <a:buNone/>
              <a:defRPr/>
            </a:lvl3pPr>
            <a:lvl4pPr marL="658927" indent="0">
              <a:buNone/>
              <a:defRPr/>
            </a:lvl4pPr>
            <a:lvl5pPr marL="878569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59156783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4406" y="365126"/>
            <a:ext cx="11354394" cy="386715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2D2CE548-A877-4E19-992B-BEAC5BDD056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748189" y="761366"/>
            <a:ext cx="11117845" cy="43817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1781809"/>
      </p:ext>
    </p:extLst>
  </p:cSld>
  <p:clrMapOvr>
    <a:masterClrMapping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F3F3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12"/>
          <p:cNvSpPr>
            <a:spLocks noGrp="1"/>
          </p:cNvSpPr>
          <p:nvPr>
            <p:ph type="sldNum" sz="quarter" idx="4"/>
          </p:nvPr>
        </p:nvSpPr>
        <p:spPr>
          <a:xfrm>
            <a:off x="9180574" y="6248512"/>
            <a:ext cx="2742188" cy="364224"/>
          </a:xfrm>
          <a:prstGeom prst="rect">
            <a:avLst/>
          </a:prstGeom>
        </p:spPr>
        <p:txBody>
          <a:bodyPr vert="horz" lIns="91440" tIns="45720" rIns="146304" bIns="45720" rtlCol="0" anchor="ctr"/>
          <a:lstStyle>
            <a:lvl1pPr marL="0" algn="r" defTabSz="914192" rtl="0" eaLnBrk="1" latinLnBrk="0" hangingPunct="1">
              <a:lnSpc>
                <a:spcPct val="90000"/>
              </a:lnSpc>
              <a:spcAft>
                <a:spcPts val="588"/>
              </a:spcAft>
              <a:defRPr lang="en-US" sz="1961" kern="1200" smtClean="0">
                <a:gradFill>
                  <a:gsLst>
                    <a:gs pos="2917">
                      <a:srgbClr val="D7D7D7"/>
                    </a:gs>
                    <a:gs pos="100000">
                      <a:srgbClr val="D7D7D7"/>
                    </a:gs>
                  </a:gsLst>
                  <a:lin ang="5400000" scaled="0"/>
                </a:gra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fld id="{461BA605-C888-4326-8417-118ADDBFD3D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5652287"/>
      </p:ext>
    </p:extLst>
  </p:cSld>
  <p:clrMapOvr>
    <a:masterClrMapping/>
  </p:clrMapOvr>
  <p:transition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With Tea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812120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ivider">
    <p:bg>
      <p:bgPr>
        <a:solidFill>
          <a:srgbClr val="CC26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1811629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CD260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088219" y="0"/>
            <a:ext cx="6099113" cy="6858000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556" y="1846740"/>
            <a:ext cx="6086663" cy="2838704"/>
          </a:xfrm>
          <a:prstGeom prst="rect">
            <a:avLst/>
          </a:prstGeom>
        </p:spPr>
        <p:txBody>
          <a:bodyPr lIns="731520" tIns="228600" rIns="274320" bIns="274320" anchor="t" anchorCtr="0">
            <a:normAutofit/>
          </a:bodyPr>
          <a:lstStyle>
            <a:lvl1pPr algn="l">
              <a:lnSpc>
                <a:spcPct val="90000"/>
              </a:lnSpc>
              <a:defRPr sz="5294">
                <a:latin typeface="Segoe UI Light"/>
                <a:cs typeface="Segoe U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4685444"/>
            <a:ext cx="6088219" cy="918093"/>
          </a:xfrm>
          <a:prstGeom prst="rect">
            <a:avLst/>
          </a:prstGeom>
        </p:spPr>
        <p:txBody>
          <a:bodyPr lIns="731520" tIns="182880" rIns="274320" bIns="274320" anchor="t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sz="1765">
                <a:solidFill>
                  <a:schemeClr val="bg1"/>
                </a:solidFill>
                <a:latin typeface="Segoe UI Light"/>
                <a:cs typeface="Segoe UI Light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Name here (Bold)</a:t>
            </a:r>
            <a:br>
              <a:rPr lang="en-US" dirty="0"/>
            </a:br>
            <a:r>
              <a:rPr lang="en-US" dirty="0"/>
              <a:t>Presenter Occupation her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1556" y="5618107"/>
            <a:ext cx="6086663" cy="364224"/>
          </a:xfrm>
        </p:spPr>
        <p:txBody>
          <a:bodyPr lIns="731520" tIns="91440"/>
          <a:lstStyle>
            <a:lvl1pPr>
              <a:defRPr sz="1372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fld id="{D7804795-A766-7049-B355-DFA942584FA4}" type="datetime4">
              <a:rPr lang="en-US" smtClean="0"/>
              <a:t>April 8, 2019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152" y="1046172"/>
            <a:ext cx="2355149" cy="815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97024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557" y="0"/>
            <a:ext cx="12185776" cy="6858000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1556" y="437941"/>
            <a:ext cx="7226068" cy="1239956"/>
          </a:xfrm>
          <a:prstGeom prst="rect">
            <a:avLst/>
          </a:prstGeom>
          <a:solidFill>
            <a:srgbClr val="CC2606">
              <a:alpha val="90000"/>
            </a:srgbClr>
          </a:solidFill>
        </p:spPr>
        <p:txBody>
          <a:bodyPr lIns="457200" tIns="0" rIns="182880" bIns="0" anchor="ctr" anchorCtr="0">
            <a:noAutofit/>
          </a:bodyPr>
          <a:lstStyle>
            <a:lvl1pPr algn="l">
              <a:lnSpc>
                <a:spcPct val="90000"/>
              </a:lnSpc>
              <a:defRPr sz="3529">
                <a:latin typeface="Segoe UI Light"/>
                <a:cs typeface="Segoe U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7329545" y="437941"/>
            <a:ext cx="4493000" cy="1239956"/>
          </a:xfrm>
          <a:prstGeom prst="rect">
            <a:avLst/>
          </a:prstGeom>
          <a:solidFill>
            <a:schemeClr val="bg1">
              <a:alpha val="91000"/>
            </a:schemeClr>
          </a:solidFill>
        </p:spPr>
        <p:txBody>
          <a:bodyPr lIns="274320" tIns="137160" rIns="182880" bIns="13716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372" baseline="0">
                <a:solidFill>
                  <a:srgbClr val="CC2606"/>
                </a:solidFill>
                <a:latin typeface="Segoe UI"/>
                <a:cs typeface="Segoe UI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95017" y="2512992"/>
            <a:ext cx="1819307" cy="1813338"/>
          </a:xfrm>
          <a:solidFill>
            <a:srgbClr val="FC7807">
              <a:alpha val="80000"/>
            </a:srgbClr>
          </a:solidFill>
        </p:spPr>
        <p:txBody>
          <a:bodyPr rIns="182880" anchor="ctr" anchorCtr="0">
            <a:noAutofit/>
          </a:bodyPr>
          <a:lstStyle>
            <a:lvl1pPr>
              <a:defRPr sz="1372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3815757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Produc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5824387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1556" y="5824387"/>
            <a:ext cx="12190444" cy="1033613"/>
          </a:xfrm>
          <a:prstGeom prst="rect">
            <a:avLst/>
          </a:prstGeom>
          <a:noFill/>
        </p:spPr>
        <p:txBody>
          <a:bodyPr lIns="457200" tIns="0" rIns="2560320" bIns="0" anchor="ctr" anchorCtr="0">
            <a:normAutofit/>
          </a:bodyPr>
          <a:lstStyle>
            <a:lvl1pPr algn="l">
              <a:lnSpc>
                <a:spcPct val="90000"/>
              </a:lnSpc>
              <a:defRPr sz="3529">
                <a:latin typeface="Segoe UI Light"/>
                <a:cs typeface="Segoe U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325722" y="693125"/>
            <a:ext cx="7545455" cy="488147"/>
          </a:xfrm>
          <a:solidFill>
            <a:schemeClr val="accent3">
              <a:alpha val="90000"/>
            </a:scheme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1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3879" y="5983059"/>
            <a:ext cx="2116880" cy="733388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325722" y="1398938"/>
            <a:ext cx="7545455" cy="488147"/>
          </a:xfrm>
          <a:solidFill>
            <a:schemeClr val="accent3">
              <a:alpha val="90000"/>
            </a:scheme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2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325722" y="2104750"/>
            <a:ext cx="7545455" cy="488147"/>
          </a:xfrm>
          <a:solidFill>
            <a:schemeClr val="accent3">
              <a:alpha val="90000"/>
            </a:scheme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3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25722" y="2799087"/>
            <a:ext cx="7545455" cy="488147"/>
          </a:xfrm>
          <a:solidFill>
            <a:schemeClr val="accent3">
              <a:alpha val="90000"/>
            </a:scheme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4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325722" y="3510636"/>
            <a:ext cx="7545455" cy="488147"/>
          </a:xfrm>
          <a:solidFill>
            <a:schemeClr val="accent3">
              <a:alpha val="90000"/>
            </a:scheme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5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431634" y="4606688"/>
            <a:ext cx="6578243" cy="746879"/>
          </a:xfrm>
          <a:prstGeom prst="rect">
            <a:avLst/>
          </a:prstGeom>
          <a:solidFill>
            <a:srgbClr val="FFFFFF">
              <a:alpha val="90000"/>
            </a:srgbClr>
          </a:solidFill>
        </p:spPr>
        <p:txBody>
          <a:bodyPr lIns="274320" tIns="228600" rIns="274320" bIns="27432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765">
                <a:solidFill>
                  <a:schemeClr val="accent3"/>
                </a:solidFill>
                <a:latin typeface="Segoe UI"/>
                <a:cs typeface="Segoe UI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87339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41" y="1189177"/>
            <a:ext cx="11653523" cy="205203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0"/>
            </a:lvl2pPr>
            <a:lvl3pPr marL="223922" indent="0">
              <a:buNone/>
              <a:defRPr sz="1960"/>
            </a:lvl3pPr>
            <a:lvl4pPr marL="447844" indent="0">
              <a:buNone/>
              <a:defRPr sz="1764"/>
            </a:lvl4pPr>
            <a:lvl5pPr marL="671766" indent="0">
              <a:buNone/>
              <a:defRPr sz="1764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ABC059-8F94-4F3F-8390-95EBC71C6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 Internal &amp; Partner Use Onl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1051AC-96F5-40A5-8422-5BFEB054EE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B82633-6564-4E15-91AF-94C3CF5965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8346718"/>
      </p:ext>
    </p:extLst>
  </p:cSld>
  <p:clrMapOvr>
    <a:masterClrMapping/>
  </p:clrMapOvr>
  <p:transition spd="slow">
    <p:push dir="u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 Produc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5824387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1556" y="5824387"/>
            <a:ext cx="12190444" cy="1033613"/>
          </a:xfrm>
          <a:prstGeom prst="rect">
            <a:avLst/>
          </a:prstGeom>
          <a:noFill/>
        </p:spPr>
        <p:txBody>
          <a:bodyPr lIns="457200" tIns="0" rIns="2560320" bIns="0" anchor="ctr" anchorCtr="0">
            <a:normAutofit/>
          </a:bodyPr>
          <a:lstStyle>
            <a:lvl1pPr algn="l">
              <a:lnSpc>
                <a:spcPct val="90000"/>
              </a:lnSpc>
              <a:defRPr sz="3529">
                <a:latin typeface="Segoe UI Light"/>
                <a:cs typeface="Segoe U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325722" y="693125"/>
            <a:ext cx="7545455" cy="488147"/>
          </a:xfrm>
          <a:solidFill>
            <a:srgbClr val="8E007A">
              <a:alpha val="90000"/>
            </a:srgb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1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3879" y="5983059"/>
            <a:ext cx="2116880" cy="733388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325722" y="1398938"/>
            <a:ext cx="7545455" cy="488147"/>
          </a:xfrm>
          <a:solidFill>
            <a:srgbClr val="8E007A">
              <a:alpha val="90000"/>
            </a:srgb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2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325722" y="2104750"/>
            <a:ext cx="7545455" cy="488147"/>
          </a:xfrm>
          <a:solidFill>
            <a:srgbClr val="8E007A">
              <a:alpha val="90000"/>
            </a:srgb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3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25722" y="2799087"/>
            <a:ext cx="7545455" cy="488147"/>
          </a:xfrm>
          <a:solidFill>
            <a:srgbClr val="8E007A">
              <a:alpha val="90000"/>
            </a:srgb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4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325722" y="3510636"/>
            <a:ext cx="7545455" cy="488147"/>
          </a:xfrm>
          <a:solidFill>
            <a:srgbClr val="8E007A">
              <a:alpha val="90000"/>
            </a:srgb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5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431634" y="4606688"/>
            <a:ext cx="6578243" cy="746879"/>
          </a:xfrm>
          <a:prstGeom prst="rect">
            <a:avLst/>
          </a:prstGeom>
          <a:solidFill>
            <a:srgbClr val="FFFFFF">
              <a:alpha val="90000"/>
            </a:srgbClr>
          </a:solidFill>
        </p:spPr>
        <p:txBody>
          <a:bodyPr lIns="274320" tIns="228600" rIns="274320" bIns="27432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765">
                <a:solidFill>
                  <a:schemeClr val="accent5"/>
                </a:solidFill>
                <a:latin typeface="Segoe UI"/>
                <a:cs typeface="Segoe UI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42179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dy Product">
    <p:bg>
      <p:bgPr>
        <a:solidFill>
          <a:srgbClr val="0B61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5824387"/>
          </a:xfrm>
          <a:prstGeom prst="rect">
            <a:avLst/>
          </a:prstGeom>
        </p:spPr>
        <p:txBody>
          <a:bodyPr vert="horz" anchor="ctr" anchorCtr="0"/>
          <a:lstStyle>
            <a:lvl1pPr marL="0" indent="0" algn="ctr">
              <a:buNone/>
              <a:defRPr>
                <a:solidFill>
                  <a:srgbClr val="FFFFFF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1556" y="5824387"/>
            <a:ext cx="12190444" cy="1033613"/>
          </a:xfrm>
          <a:prstGeom prst="rect">
            <a:avLst/>
          </a:prstGeom>
          <a:noFill/>
        </p:spPr>
        <p:txBody>
          <a:bodyPr lIns="457200" tIns="0" rIns="2560320" bIns="0" anchor="ctr" anchorCtr="0">
            <a:normAutofit/>
          </a:bodyPr>
          <a:lstStyle>
            <a:lvl1pPr algn="l">
              <a:lnSpc>
                <a:spcPct val="90000"/>
              </a:lnSpc>
              <a:defRPr sz="3529">
                <a:latin typeface="Segoe UI Light"/>
                <a:cs typeface="Segoe U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325722" y="693125"/>
            <a:ext cx="7545455" cy="488147"/>
          </a:xfrm>
          <a:solidFill>
            <a:schemeClr val="bg2">
              <a:alpha val="90000"/>
            </a:scheme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1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03879" y="5983059"/>
            <a:ext cx="2116880" cy="733388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325722" y="1398938"/>
            <a:ext cx="7545455" cy="488147"/>
          </a:xfrm>
          <a:solidFill>
            <a:schemeClr val="bg2">
              <a:alpha val="90000"/>
            </a:scheme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2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325722" y="2104750"/>
            <a:ext cx="7545455" cy="488147"/>
          </a:xfrm>
          <a:solidFill>
            <a:schemeClr val="bg2">
              <a:alpha val="90000"/>
            </a:scheme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3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325722" y="2799087"/>
            <a:ext cx="7545455" cy="488147"/>
          </a:xfrm>
          <a:solidFill>
            <a:schemeClr val="bg2">
              <a:alpha val="90000"/>
            </a:scheme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4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325722" y="3510636"/>
            <a:ext cx="7545455" cy="488147"/>
          </a:xfrm>
          <a:solidFill>
            <a:schemeClr val="bg2">
              <a:alpha val="90000"/>
            </a:schemeClr>
          </a:solidFill>
        </p:spPr>
        <p:txBody>
          <a:bodyPr wrap="square" tIns="137160" rIns="182880" bIns="137160" anchor="ctr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88"/>
              </a:spcAft>
              <a:defRPr sz="1372" baseline="0">
                <a:solidFill>
                  <a:schemeClr val="bg1"/>
                </a:solidFill>
              </a:defRPr>
            </a:lvl1pPr>
            <a:lvl2pPr>
              <a:defRPr sz="1372"/>
            </a:lvl2pPr>
            <a:lvl3pPr>
              <a:defRPr sz="1176"/>
            </a:lvl3pPr>
            <a:lvl4pPr>
              <a:defRPr sz="1029"/>
            </a:lvl4pPr>
            <a:lvl5pPr>
              <a:defRPr sz="1029"/>
            </a:lvl5pPr>
          </a:lstStyle>
          <a:p>
            <a:pPr lvl="0"/>
            <a:r>
              <a:rPr lang="en-US" dirty="0"/>
              <a:t>Text 5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431634" y="4606688"/>
            <a:ext cx="6578243" cy="746879"/>
          </a:xfrm>
          <a:prstGeom prst="rect">
            <a:avLst/>
          </a:prstGeom>
          <a:solidFill>
            <a:srgbClr val="FFFFFF">
              <a:alpha val="90000"/>
            </a:srgbClr>
          </a:solidFill>
        </p:spPr>
        <p:txBody>
          <a:bodyPr lIns="274320" tIns="228600" rIns="274320" bIns="27432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765">
                <a:solidFill>
                  <a:srgbClr val="0B61CD"/>
                </a:solidFill>
                <a:latin typeface="Segoe UI"/>
                <a:cs typeface="Segoe UI"/>
              </a:defRPr>
            </a:lvl1pPr>
            <a:lvl2pPr marL="448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9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73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67842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994" y="2977054"/>
            <a:ext cx="8067822" cy="1793104"/>
          </a:xfrm>
          <a:noFill/>
        </p:spPr>
        <p:txBody>
          <a:bodyPr lIns="0" tIns="91440" rIns="146304" bIns="91440" anchor="b" anchorCtr="0"/>
          <a:lstStyle>
            <a:lvl1pPr>
              <a:defRPr sz="5294" strike="noStrike" spc="-14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2753" y="4736471"/>
            <a:ext cx="8359808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64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5995" y="440495"/>
            <a:ext cx="917173" cy="196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6079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994" y="2977054"/>
            <a:ext cx="8067822" cy="1793104"/>
          </a:xfrm>
          <a:noFill/>
        </p:spPr>
        <p:txBody>
          <a:bodyPr lIns="0" tIns="91440" rIns="146304" bIns="91440" anchor="b" anchorCtr="0"/>
          <a:lstStyle>
            <a:lvl1pPr>
              <a:defRPr sz="5294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2753" y="4736471"/>
            <a:ext cx="8359808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455996" y="440495"/>
            <a:ext cx="914788" cy="196431"/>
            <a:chOff x="465139" y="449264"/>
            <a:chExt cx="933131" cy="200341"/>
          </a:xfrm>
        </p:grpSpPr>
        <p:pic>
          <p:nvPicPr>
            <p:cNvPr id="97" name="Picture 96"/>
            <p:cNvPicPr>
              <a:picLocks noChangeAspect="1"/>
            </p:cNvPicPr>
            <p:nvPr userDrawn="1"/>
          </p:nvPicPr>
          <p:blipFill rotWithShape="1">
            <a:blip r:embed="rId2"/>
            <a:srcRect l="26716" r="872" b="4064"/>
            <a:stretch/>
          </p:blipFill>
          <p:spPr bwMode="black">
            <a:xfrm>
              <a:off x="721996" y="459092"/>
              <a:ext cx="676274" cy="187779"/>
            </a:xfrm>
            <a:prstGeom prst="rect">
              <a:avLst/>
            </a:prstGeom>
          </p:spPr>
        </p:pic>
        <p:pic>
          <p:nvPicPr>
            <p:cNvPr id="64" name="MS logo gray - EMF"/>
            <p:cNvPicPr>
              <a:picLocks noChangeAspect="1"/>
            </p:cNvPicPr>
            <p:nvPr userDrawn="1"/>
          </p:nvPicPr>
          <p:blipFill rotWithShape="1">
            <a:blip r:embed="rId3"/>
            <a:srcRect r="76414"/>
            <a:stretch/>
          </p:blipFill>
          <p:spPr bwMode="black">
            <a:xfrm>
              <a:off x="465139" y="449264"/>
              <a:ext cx="220661" cy="2003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4539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0" b="1608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994" y="2977054"/>
            <a:ext cx="8067822" cy="1793104"/>
          </a:xfrm>
          <a:noFill/>
        </p:spPr>
        <p:txBody>
          <a:bodyPr lIns="0" tIns="91440" rIns="146304" bIns="91440" anchor="b" anchorCtr="0"/>
          <a:lstStyle>
            <a:lvl1pPr>
              <a:defRPr sz="5294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2753" y="4736471"/>
            <a:ext cx="8359808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2037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78"/>
            <a:ext cx="12192000" cy="6856644"/>
          </a:xfrm>
          <a:prstGeom prst="rect">
            <a:avLst/>
          </a:prstGeom>
        </p:spPr>
      </p:pic>
      <p:pic>
        <p:nvPicPr>
          <p:cNvPr id="97" name="Picture 96"/>
          <p:cNvPicPr>
            <a:picLocks noChangeAspect="1"/>
          </p:cNvPicPr>
          <p:nvPr userDrawn="1"/>
        </p:nvPicPr>
        <p:blipFill rotWithShape="1">
          <a:blip r:embed="rId3"/>
          <a:srcRect l="26716" r="872" b="4064"/>
          <a:stretch/>
        </p:blipFill>
        <p:spPr bwMode="black">
          <a:xfrm>
            <a:off x="707803" y="450131"/>
            <a:ext cx="662980" cy="184114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994" y="2977054"/>
            <a:ext cx="8067822" cy="1793104"/>
          </a:xfrm>
          <a:noFill/>
        </p:spPr>
        <p:txBody>
          <a:bodyPr lIns="0" tIns="91440" rIns="146304" bIns="91440" anchor="b" anchorCtr="0"/>
          <a:lstStyle>
            <a:lvl1pPr>
              <a:defRPr sz="5294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62753" y="4736471"/>
            <a:ext cx="8359808" cy="715931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765" spc="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64" name="MS logo gray - EMF"/>
          <p:cNvPicPr>
            <a:picLocks noChangeAspect="1"/>
          </p:cNvPicPr>
          <p:nvPr userDrawn="1"/>
        </p:nvPicPr>
        <p:blipFill rotWithShape="1">
          <a:blip r:embed="rId4"/>
          <a:srcRect r="76414"/>
          <a:stretch/>
        </p:blipFill>
        <p:spPr bwMode="black">
          <a:xfrm>
            <a:off x="455996" y="440495"/>
            <a:ext cx="216323" cy="196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920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941692"/>
            <a:ext cx="3618381" cy="899665"/>
          </a:xfrm>
        </p:spPr>
        <p:txBody>
          <a:bodyPr lIns="0" tIns="0" rIns="0" bIns="0"/>
          <a:lstStyle>
            <a:lvl1pPr>
              <a:defRPr sz="1765" spc="-49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9843" y="941692"/>
            <a:ext cx="3837818" cy="3786998"/>
          </a:xfrm>
        </p:spPr>
        <p:txBody>
          <a:bodyPr wrap="square" lIns="0" tIns="0" rIns="0" bIns="0">
            <a:noAutofit/>
          </a:bodyPr>
          <a:lstStyle>
            <a:lvl1pPr marL="0" indent="0" defTabSz="507330">
              <a:buNone/>
              <a:defRPr sz="1765" spc="-49" baseline="0">
                <a:solidFill>
                  <a:schemeClr val="accent1"/>
                </a:solidFill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99769845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28/32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882332"/>
            <a:ext cx="11306469" cy="30777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Large: subhead Segoe UI Regular 20/2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51388"/>
            <a:ext cx="11306469" cy="46166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0"/>
              </a:spcBef>
              <a:buNone/>
              <a:defRPr sz="1372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Medium: paragraph title Segoe UI bold 14/18</a:t>
            </a:r>
          </a:p>
          <a:p>
            <a:pPr lvl="1"/>
            <a:r>
              <a:rPr lang="en-US"/>
              <a:t>Body copy Segoe UI Regular 14/18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55995" y="4390304"/>
            <a:ext cx="11306469" cy="307777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0"/>
              </a:spcBef>
              <a:buNone/>
              <a:defRPr sz="980">
                <a:solidFill>
                  <a:schemeClr val="tx1"/>
                </a:solidFill>
              </a:defRPr>
            </a:lvl1pPr>
            <a:lvl2pPr marL="0" indent="0">
              <a:lnSpc>
                <a:spcPts val="1176"/>
              </a:lnSpc>
              <a:spcBef>
                <a:spcPts val="0"/>
              </a:spcBef>
              <a:buNone/>
              <a:defRPr sz="98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mall: caption title Segoe </a:t>
            </a:r>
            <a:r>
              <a:rPr lang="en-US" err="1"/>
              <a:t>Semibold</a:t>
            </a:r>
            <a:r>
              <a:rPr lang="en-US"/>
              <a:t> 10/12</a:t>
            </a:r>
          </a:p>
          <a:p>
            <a:pPr lvl="1"/>
            <a:r>
              <a:rPr lang="en-US"/>
              <a:t>Caption Segoe Regular 10/12</a:t>
            </a:r>
          </a:p>
        </p:txBody>
      </p:sp>
    </p:spTree>
    <p:extLst>
      <p:ext uri="{BB962C8B-B14F-4D97-AF65-F5344CB8AC3E}">
        <p14:creationId xmlns:p14="http://schemas.microsoft.com/office/powerpoint/2010/main" val="175820213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1: three column bulleted li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882331"/>
            <a:ext cx="7454644" cy="923330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Segoe UI Regular 20/24. Dis </a:t>
            </a:r>
            <a:r>
              <a:rPr lang="en-US" err="1"/>
              <a:t>apid</a:t>
            </a:r>
            <a:r>
              <a:rPr lang="en-US"/>
              <a:t> </a:t>
            </a:r>
            <a:r>
              <a:rPr lang="en-US" err="1"/>
              <a:t>es</a:t>
            </a:r>
            <a:r>
              <a:rPr lang="en-US"/>
              <a:t>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vit</a:t>
            </a:r>
            <a:r>
              <a:rPr lang="en-US"/>
              <a:t>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r>
              <a:rPr lang="en-US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51389"/>
            <a:ext cx="3618381" cy="2678201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2" b="1">
                <a:solidFill>
                  <a:schemeClr val="accent1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13110" y="3160782"/>
            <a:ext cx="3597528" cy="2678201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0346" y="3151389"/>
            <a:ext cx="3622117" cy="2678201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861170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2: two columns copy heav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1966312"/>
            <a:ext cx="5541959" cy="3847207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229842" y="1956351"/>
            <a:ext cx="5541959" cy="3847207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Pa </a:t>
            </a:r>
            <a:r>
              <a:rPr lang="en-US" err="1"/>
              <a:t>consed</a:t>
            </a:r>
            <a:r>
              <a:rPr lang="en-US"/>
              <a:t> et </a:t>
            </a:r>
            <a:r>
              <a:rPr lang="en-US" err="1"/>
              <a:t>atur</a:t>
            </a:r>
            <a:r>
              <a:rPr lang="en-US"/>
              <a:t>. </a:t>
            </a:r>
            <a:r>
              <a:rPr lang="en-US" err="1"/>
              <a:t>Serion</a:t>
            </a:r>
            <a:r>
              <a:rPr lang="en-US"/>
              <a:t> </a:t>
            </a:r>
            <a:r>
              <a:rPr lang="en-US" err="1"/>
              <a:t>corepudi</a:t>
            </a:r>
            <a:r>
              <a:rPr lang="en-US"/>
              <a:t> dolor </a:t>
            </a:r>
            <a:r>
              <a:rPr lang="en-US" err="1"/>
              <a:t>adionse</a:t>
            </a:r>
            <a:r>
              <a:rPr lang="en-US"/>
              <a:t> </a:t>
            </a:r>
            <a:r>
              <a:rPr lang="en-US" err="1"/>
              <a:t>quibusame</a:t>
            </a:r>
            <a:r>
              <a:rPr lang="en-US"/>
              <a:t> </a:t>
            </a:r>
            <a:r>
              <a:rPr lang="en-US" err="1"/>
              <a:t>nullabora</a:t>
            </a:r>
            <a:r>
              <a:rPr lang="en-US"/>
              <a:t> </a:t>
            </a:r>
            <a:r>
              <a:rPr lang="en-US" err="1"/>
              <a:t>volent</a:t>
            </a:r>
            <a:r>
              <a:rPr lang="en-US"/>
              <a:t> </a:t>
            </a:r>
            <a:r>
              <a:rPr lang="en-US" err="1"/>
              <a:t>lignam</a:t>
            </a:r>
            <a:r>
              <a:rPr lang="en-US"/>
              <a:t> </a:t>
            </a:r>
            <a:r>
              <a:rPr lang="en-US" err="1"/>
              <a:t>entis</a:t>
            </a:r>
            <a:r>
              <a:rPr lang="en-US"/>
              <a:t> ape </a:t>
            </a:r>
            <a:r>
              <a:rPr lang="en-US" err="1"/>
              <a:t>dolores</a:t>
            </a:r>
            <a:r>
              <a:rPr lang="en-US"/>
              <a:t> se </a:t>
            </a:r>
            <a:r>
              <a:rPr lang="en-US" err="1"/>
              <a:t>voluptae</a:t>
            </a:r>
            <a:r>
              <a:rPr lang="en-US"/>
              <a:t> </a:t>
            </a:r>
            <a:r>
              <a:rPr lang="en-US" err="1"/>
              <a:t>nimolupti</a:t>
            </a:r>
            <a:r>
              <a:rPr lang="en-US"/>
              <a:t> </a:t>
            </a:r>
            <a:r>
              <a:rPr lang="en-US" err="1"/>
              <a:t>quam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</a:t>
            </a:r>
            <a:r>
              <a:rPr lang="en-US" err="1"/>
              <a:t>simusa</a:t>
            </a:r>
            <a:r>
              <a:rPr lang="en-US"/>
              <a:t> </a:t>
            </a:r>
            <a:r>
              <a:rPr lang="en-US" err="1"/>
              <a:t>doluptur</a:t>
            </a:r>
            <a:r>
              <a:rPr lang="en-US"/>
              <a:t>, sum hic </a:t>
            </a:r>
            <a:r>
              <a:rPr lang="en-US" err="1"/>
              <a:t>tem</a:t>
            </a:r>
            <a:r>
              <a:rPr lang="en-US"/>
              <a:t> qui cum </a:t>
            </a:r>
            <a:r>
              <a:rPr lang="en-US" err="1"/>
              <a:t>evelest</a:t>
            </a:r>
            <a:r>
              <a:rPr lang="en-US"/>
              <a:t>, </a:t>
            </a:r>
            <a:r>
              <a:rPr lang="en-US" err="1"/>
              <a:t>cusapel</a:t>
            </a:r>
            <a:r>
              <a:rPr lang="en-US"/>
              <a:t> et </a:t>
            </a:r>
            <a:r>
              <a:rPr lang="en-US" err="1"/>
              <a:t>unt</a:t>
            </a:r>
            <a:r>
              <a:rPr lang="en-US"/>
              <a:t> et </a:t>
            </a:r>
            <a:r>
              <a:rPr lang="en-US" err="1"/>
              <a:t>hiciisciume</a:t>
            </a:r>
            <a:r>
              <a:rPr lang="en-US"/>
              <a:t> </a:t>
            </a:r>
            <a:r>
              <a:rPr lang="en-US" err="1"/>
              <a:t>vernatiore</a:t>
            </a:r>
            <a:r>
              <a:rPr lang="en-US"/>
              <a:t> </a:t>
            </a:r>
            <a:r>
              <a:rPr lang="en-US" err="1"/>
              <a:t>volenecabor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ent</a:t>
            </a:r>
            <a:r>
              <a:rPr lang="en-US"/>
              <a:t>, </a:t>
            </a:r>
            <a:r>
              <a:rPr lang="en-US" err="1"/>
              <a:t>quamus</a:t>
            </a:r>
            <a:r>
              <a:rPr lang="en-US"/>
              <a:t> </a:t>
            </a:r>
            <a:r>
              <a:rPr lang="en-US" err="1"/>
              <a:t>voluptium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 </a:t>
            </a:r>
            <a:r>
              <a:rPr lang="en-US" err="1"/>
              <a:t>maio</a:t>
            </a:r>
            <a:r>
              <a:rPr lang="en-US"/>
              <a:t> </a:t>
            </a:r>
            <a:r>
              <a:rPr lang="en-US" err="1"/>
              <a:t>volupta</a:t>
            </a:r>
            <a:r>
              <a:rPr lang="en-US"/>
              <a:t> </a:t>
            </a:r>
            <a:r>
              <a:rPr lang="en-US" err="1"/>
              <a:t>tioria</a:t>
            </a:r>
            <a:r>
              <a:rPr lang="en-US"/>
              <a:t> </a:t>
            </a:r>
            <a:r>
              <a:rPr lang="en-US" err="1"/>
              <a:t>venimetur</a:t>
            </a:r>
            <a:r>
              <a:rPr lang="en-US"/>
              <a:t> re </a:t>
            </a:r>
            <a:r>
              <a:rPr lang="en-US" err="1"/>
              <a:t>vel</a:t>
            </a:r>
            <a:r>
              <a:rPr lang="en-US"/>
              <a:t> </a:t>
            </a:r>
            <a:r>
              <a:rPr lang="en-US" err="1"/>
              <a:t>ent</a:t>
            </a:r>
            <a:r>
              <a:rPr lang="en-US"/>
              <a:t>,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liqui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sin con re </a:t>
            </a:r>
            <a:r>
              <a:rPr lang="en-US" err="1"/>
              <a:t>lau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olupietur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r>
              <a:rPr lang="en-US" err="1"/>
              <a:t>Henestios</a:t>
            </a:r>
            <a:r>
              <a:rPr lang="en-US"/>
              <a:t> </a:t>
            </a:r>
            <a:r>
              <a:rPr lang="en-US" err="1"/>
              <a:t>vellantium</a:t>
            </a:r>
            <a:r>
              <a:rPr lang="en-US"/>
              <a:t> </a:t>
            </a:r>
            <a:r>
              <a:rPr lang="en-US" err="1"/>
              <a:t>simi</a:t>
            </a:r>
            <a:r>
              <a:rPr lang="en-US"/>
              <a:t>, </a:t>
            </a:r>
            <a:r>
              <a:rPr lang="en-US" err="1"/>
              <a:t>quassenime</a:t>
            </a:r>
            <a:r>
              <a:rPr lang="en-US"/>
              <a:t> consent </a:t>
            </a:r>
            <a:r>
              <a:rPr lang="en-US" err="1"/>
              <a:t>emquatincti</a:t>
            </a:r>
            <a:r>
              <a:rPr lang="en-US"/>
              <a:t> to doles </a:t>
            </a:r>
            <a:r>
              <a:rPr lang="en-US" err="1"/>
              <a:t>cium</a:t>
            </a:r>
            <a:r>
              <a:rPr lang="en-US"/>
              <a:t> </a:t>
            </a:r>
            <a:r>
              <a:rPr lang="en-US" err="1"/>
              <a:t>nectur</a:t>
            </a:r>
            <a:r>
              <a:rPr lang="en-US"/>
              <a:t>. </a:t>
            </a:r>
            <a:r>
              <a:rPr lang="en-US" err="1"/>
              <a:t>Experit</a:t>
            </a:r>
            <a:r>
              <a:rPr lang="en-US"/>
              <a:t> </a:t>
            </a:r>
            <a:r>
              <a:rPr lang="en-US" err="1"/>
              <a:t>occu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</a:t>
            </a:r>
            <a:r>
              <a:rPr lang="en-US" err="1"/>
              <a:t>ipsuntius</a:t>
            </a:r>
            <a:r>
              <a:rPr lang="en-US"/>
              <a:t> </a:t>
            </a:r>
            <a:r>
              <a:rPr lang="en-US" err="1"/>
              <a:t>quideli</a:t>
            </a:r>
            <a:r>
              <a:rPr lang="en-US"/>
              <a:t> </a:t>
            </a:r>
            <a:r>
              <a:rPr lang="en-US" err="1"/>
              <a:t>tatiis</a:t>
            </a:r>
            <a:r>
              <a:rPr lang="en-US"/>
              <a:t> rem </a:t>
            </a:r>
            <a:r>
              <a:rPr lang="en-US" err="1"/>
              <a:t>restis</a:t>
            </a:r>
            <a:r>
              <a:rPr lang="en-US"/>
              <a:t> pro </a:t>
            </a:r>
            <a:r>
              <a:rPr lang="en-US" err="1"/>
              <a:t>ium</a:t>
            </a:r>
            <a:r>
              <a:rPr lang="en-US"/>
              <a:t> qui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debist</a:t>
            </a:r>
            <a:r>
              <a:rPr lang="en-US"/>
              <a:t> at </a:t>
            </a:r>
            <a:r>
              <a:rPr lang="en-US" err="1"/>
              <a:t>ilit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cus</a:t>
            </a:r>
            <a:r>
              <a:rPr lang="en-US"/>
              <a:t> </a:t>
            </a:r>
            <a:r>
              <a:rPr lang="en-US" err="1"/>
              <a:t>invenim</a:t>
            </a:r>
            <a:r>
              <a:rPr lang="en-US"/>
              <a:t> </a:t>
            </a:r>
            <a:r>
              <a:rPr lang="en-US" err="1"/>
              <a:t>laborro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rectiissunt</a:t>
            </a:r>
            <a:r>
              <a:rPr lang="en-US"/>
              <a:t> et, </a:t>
            </a:r>
            <a:r>
              <a:rPr lang="en-US" err="1"/>
              <a:t>nos</a:t>
            </a:r>
            <a:r>
              <a:rPr lang="en-US"/>
              <a:t> </a:t>
            </a:r>
            <a:r>
              <a:rPr lang="en-US" err="1"/>
              <a:t>doloratia</a:t>
            </a:r>
            <a:r>
              <a:rPr lang="en-US"/>
              <a:t> et </a:t>
            </a:r>
            <a:r>
              <a:rPr lang="en-US" err="1"/>
              <a:t>opta</a:t>
            </a:r>
            <a:r>
              <a:rPr lang="en-US"/>
              <a:t> dis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modis</a:t>
            </a:r>
            <a:r>
              <a:rPr lang="en-US"/>
              <a:t> </a:t>
            </a:r>
            <a:r>
              <a:rPr lang="en-US" err="1"/>
              <a:t>rerat</a:t>
            </a:r>
            <a:r>
              <a:rPr lang="en-US"/>
              <a:t> </a:t>
            </a:r>
            <a:r>
              <a:rPr lang="en-US" err="1"/>
              <a:t>oditatu</a:t>
            </a:r>
            <a:r>
              <a:rPr lang="en-US"/>
              <a:t> </a:t>
            </a:r>
            <a:r>
              <a:rPr lang="en-US" err="1"/>
              <a:t>reseque</a:t>
            </a:r>
            <a:r>
              <a:rPr lang="en-US"/>
              <a:t> </a:t>
            </a:r>
            <a:r>
              <a:rPr lang="en-US" err="1"/>
              <a:t>nisque</a:t>
            </a:r>
            <a:r>
              <a:rPr lang="en-US"/>
              <a:t> rem </a:t>
            </a:r>
            <a:r>
              <a:rPr lang="en-US" err="1"/>
              <a:t>rempores</a:t>
            </a:r>
            <a:r>
              <a:rPr lang="en-US"/>
              <a:t>. </a:t>
            </a:r>
            <a:r>
              <a:rPr lang="en-US" err="1"/>
              <a:t>Anduntus</a:t>
            </a:r>
            <a:r>
              <a:rPr lang="en-US"/>
              <a:t> </a:t>
            </a:r>
            <a:r>
              <a:rPr lang="en-US" err="1"/>
              <a:t>dolecta</a:t>
            </a:r>
            <a:r>
              <a:rPr lang="en-US"/>
              <a:t> </a:t>
            </a:r>
            <a:r>
              <a:rPr lang="en-US" err="1"/>
              <a:t>tiusam</a:t>
            </a:r>
            <a:r>
              <a:rPr lang="en-US"/>
              <a:t> </a:t>
            </a:r>
            <a:r>
              <a:rPr lang="en-US" err="1"/>
              <a:t>esto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delit</a:t>
            </a:r>
            <a:r>
              <a:rPr lang="en-US"/>
              <a:t>, at. </a:t>
            </a:r>
            <a:r>
              <a:rPr lang="en-US" err="1"/>
              <a:t>Haria</a:t>
            </a:r>
            <a:r>
              <a:rPr lang="en-US"/>
              <a:t> dis </a:t>
            </a:r>
            <a:r>
              <a:rPr lang="en-US" err="1"/>
              <a:t>eum</a:t>
            </a:r>
            <a:r>
              <a:rPr lang="en-US"/>
              <a:t> a </a:t>
            </a:r>
            <a:r>
              <a:rPr lang="en-US" err="1"/>
              <a:t>sitibus</a:t>
            </a:r>
            <a:r>
              <a:rPr lang="en-US"/>
              <a:t> </a:t>
            </a:r>
            <a:r>
              <a:rPr lang="en-US" err="1"/>
              <a:t>volorib</a:t>
            </a:r>
            <a:r>
              <a:rPr lang="en-US"/>
              <a:t> </a:t>
            </a:r>
            <a:r>
              <a:rPr lang="en-US" err="1"/>
              <a:t>usapere</a:t>
            </a:r>
            <a:r>
              <a:rPr lang="en-US"/>
              <a:t> </a:t>
            </a:r>
            <a:r>
              <a:rPr lang="en-US" err="1"/>
              <a:t>nonse</a:t>
            </a:r>
            <a:r>
              <a:rPr lang="en-US"/>
              <a:t> </a:t>
            </a:r>
            <a:r>
              <a:rPr lang="en-US" err="1"/>
              <a:t>cullit</a:t>
            </a:r>
            <a:r>
              <a:rPr lang="en-US"/>
              <a:t> </a:t>
            </a:r>
            <a:r>
              <a:rPr lang="en-US" err="1"/>
              <a:t>iditatquam</a:t>
            </a:r>
            <a:r>
              <a:rPr lang="en-US"/>
              <a:t> </a:t>
            </a:r>
            <a:r>
              <a:rPr lang="en-US" err="1"/>
              <a:t>hil</a:t>
            </a:r>
            <a:r>
              <a:rPr lang="en-US"/>
              <a:t> </a:t>
            </a:r>
            <a:r>
              <a:rPr lang="en-US" err="1"/>
              <a:t>minciu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debit </a:t>
            </a:r>
            <a:r>
              <a:rPr lang="en-US" err="1"/>
              <a:t>quae</a:t>
            </a:r>
            <a:r>
              <a:rPr lang="en-US"/>
              <a:t> sit.</a:t>
            </a:r>
          </a:p>
        </p:txBody>
      </p:sp>
    </p:spTree>
    <p:extLst>
      <p:ext uri="{BB962C8B-B14F-4D97-AF65-F5344CB8AC3E}">
        <p14:creationId xmlns:p14="http://schemas.microsoft.com/office/powerpoint/2010/main" val="17513497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/>
          <a:srcRect l="202" t="35855" b="2392"/>
          <a:stretch/>
        </p:blipFill>
        <p:spPr>
          <a:xfrm>
            <a:off x="-18534" y="-489"/>
            <a:ext cx="12210535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263887" y="4618991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966772"/>
            <a:ext cx="12192000" cy="3890220"/>
          </a:xfrm>
          <a:prstGeom prst="rect">
            <a:avLst/>
          </a:prstGeom>
          <a:gradFill>
            <a:gsLst>
              <a:gs pos="0">
                <a:srgbClr val="010A07">
                  <a:alpha val="0"/>
                </a:srgbClr>
              </a:gs>
              <a:gs pos="100000">
                <a:srgbClr val="010A07">
                  <a:alpha val="92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39"/>
            <a:endParaRPr lang="en-US" sz="1765">
              <a:solidFill>
                <a:srgbClr val="F1EFED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4576557"/>
            <a:ext cx="8354964" cy="1255173"/>
          </a:xfrm>
          <a:noFill/>
        </p:spPr>
        <p:txBody>
          <a:bodyPr lIns="146304" tIns="91440" rIns="146304" bIns="0" anchor="b" anchorCtr="0"/>
          <a:lstStyle>
            <a:lvl1pPr marL="0" algn="l" defTabSz="896042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5840966"/>
            <a:ext cx="8354964" cy="476135"/>
          </a:xfrm>
        </p:spPr>
        <p:txBody>
          <a:bodyPr tIns="0" bIns="109728">
            <a:noAutofit/>
          </a:bodyPr>
          <a:lstStyle>
            <a:lvl1pPr marL="0" indent="0" algn="l" defTabSz="896042" rtl="0" eaLnBrk="1" latinLnBrk="0" hangingPunct="1">
              <a:spcBef>
                <a:spcPts val="0"/>
              </a:spcBef>
              <a:buNone/>
              <a:defRPr lang="en-US" sz="2451" kern="1200" spc="-147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529" y="312533"/>
            <a:ext cx="1601410" cy="51641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0476" y="5645716"/>
            <a:ext cx="2004978" cy="73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06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455992" y="1599723"/>
            <a:ext cx="3618383" cy="31289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915101" y="1958094"/>
            <a:ext cx="2698612" cy="241147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4303151" y="1599723"/>
            <a:ext cx="3618383" cy="31289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auto">
          <a:xfrm>
            <a:off x="8144081" y="1599723"/>
            <a:ext cx="3618383" cy="31289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3: three columns images and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4927922"/>
            <a:ext cx="3618381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00039" y="4927922"/>
            <a:ext cx="3618381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7" name="Content Placeholder 15"/>
          <p:cNvSpPr>
            <a:spLocks noGrp="1"/>
          </p:cNvSpPr>
          <p:nvPr>
            <p:ph sz="quarter" idx="18" hasCustomPrompt="1"/>
          </p:nvPr>
        </p:nvSpPr>
        <p:spPr>
          <a:xfrm>
            <a:off x="4759922" y="1958094"/>
            <a:ext cx="2698612" cy="241147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18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8604744" y="1958094"/>
            <a:ext cx="2698612" cy="241147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64199155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455995" y="2136155"/>
            <a:ext cx="1693247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4: six columns (numbered list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67818"/>
            <a:ext cx="1693247" cy="282128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78328" y="3167818"/>
            <a:ext cx="1693247" cy="282128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00662" y="3167818"/>
            <a:ext cx="1693247" cy="2821285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6222995" y="3167818"/>
            <a:ext cx="1693247" cy="2821285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145328" y="3167818"/>
            <a:ext cx="1693247" cy="2821285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10067660" y="3167818"/>
            <a:ext cx="1693247" cy="2821285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2378328" y="2136155"/>
            <a:ext cx="1693247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4300662" y="2136155"/>
            <a:ext cx="1693247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8" hasCustomPrompt="1"/>
          </p:nvPr>
        </p:nvSpPr>
        <p:spPr>
          <a:xfrm>
            <a:off x="6222995" y="2136155"/>
            <a:ext cx="1693247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8145328" y="2136155"/>
            <a:ext cx="1693247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30" hasCustomPrompt="1"/>
          </p:nvPr>
        </p:nvSpPr>
        <p:spPr>
          <a:xfrm>
            <a:off x="10067660" y="2136155"/>
            <a:ext cx="1693247" cy="1021696"/>
          </a:xfrm>
        </p:spPr>
        <p:txBody>
          <a:bodyPr>
            <a:noAutofit/>
          </a:bodyPr>
          <a:lstStyle>
            <a:lvl1pPr marL="0" indent="0">
              <a:buNone/>
              <a:defRPr sz="1961"/>
            </a:lvl1pPr>
          </a:lstStyle>
          <a:p>
            <a:pPr lvl="0"/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654906076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 strike="noStrike">
                <a:solidFill>
                  <a:srgbClr val="2F2F2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548440901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55994" y="881921"/>
            <a:ext cx="7454643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5294" spc="-147" dirty="0">
                <a:solidFill>
                  <a:schemeClr val="bg1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30633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55994" y="881921"/>
            <a:ext cx="7454643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5294" spc="-147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686939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55994" y="881921"/>
            <a:ext cx="7454643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5294" spc="-147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37191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5" y="0"/>
            <a:ext cx="1219112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881922"/>
            <a:ext cx="7454644" cy="2649187"/>
          </a:xfrm>
          <a:noFill/>
        </p:spPr>
        <p:txBody>
          <a:bodyPr wrap="square" lIns="0" tIns="0" rIns="0" bIns="0" anchor="t" anchorCtr="0">
            <a:noAutofit/>
          </a:bodyPr>
          <a:lstStyle>
            <a:lvl1pPr>
              <a:lnSpc>
                <a:spcPts val="5490"/>
              </a:lnSpc>
              <a:defRPr sz="5294" spc="-147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88649424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554195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29842" y="0"/>
            <a:ext cx="5962158" cy="6858000"/>
          </a:xfrm>
          <a:blipFill dpi="0" rotWithShape="1">
            <a:blip r:embed="rId2"/>
            <a:srcRect/>
            <a:tile tx="-1530350" ty="0" sx="66000" sy="66000" flip="none" algn="tl"/>
          </a:blipFill>
        </p:spPr>
        <p:txBody>
          <a:bodyPr anchor="ctr">
            <a:noAutofit/>
          </a:bodyPr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166441597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 title="Drag photo"/>
          <p:cNvSpPr>
            <a:spLocks noGrp="1"/>
          </p:cNvSpPr>
          <p:nvPr>
            <p:ph type="pic" sz="quarter" idx="10" hasCustomPrompt="1"/>
          </p:nvPr>
        </p:nvSpPr>
        <p:spPr>
          <a:xfrm>
            <a:off x="455994" y="2126198"/>
            <a:ext cx="2680310" cy="4286639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t">
            <a:noAutofit/>
          </a:bodyPr>
          <a:lstStyle>
            <a:lvl1pPr marL="0" indent="0" algn="ctr">
              <a:buNone/>
              <a:defRPr sz="1765">
                <a:solidFill>
                  <a:schemeClr val="bg2"/>
                </a:solidFill>
              </a:defRPr>
            </a:lvl1pPr>
          </a:lstStyle>
          <a:p>
            <a:r>
              <a:rPr lang="en-US"/>
              <a:t>Drag photo here</a:t>
            </a:r>
          </a:p>
        </p:txBody>
      </p:sp>
      <p:sp>
        <p:nvSpPr>
          <p:cNvPr id="5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3331126" y="2126197"/>
            <a:ext cx="2680310" cy="4286639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anchor="t">
            <a:noAutofit/>
          </a:bodyPr>
          <a:lstStyle>
            <a:lvl1pPr marL="0" indent="0" algn="ctr">
              <a:buNone/>
              <a:defRPr sz="1765">
                <a:solidFill>
                  <a:schemeClr val="bg2"/>
                </a:solidFill>
              </a:defRPr>
            </a:lvl1pPr>
          </a:lstStyle>
          <a:p>
            <a:r>
              <a:rPr lang="en-US"/>
              <a:t>Drag photo here</a:t>
            </a: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9081389" y="2126197"/>
            <a:ext cx="2680310" cy="4286639"/>
          </a:xfrm>
          <a:blipFill dpi="0" rotWithShape="1">
            <a:blip r:embed="rId4"/>
            <a:srcRect/>
            <a:stretch>
              <a:fillRect/>
            </a:stretch>
          </a:blipFill>
        </p:spPr>
        <p:txBody>
          <a:bodyPr anchor="t">
            <a:noAutofit/>
          </a:bodyPr>
          <a:lstStyle>
            <a:lvl1pPr marL="0" indent="0" algn="ctr">
              <a:buNone/>
              <a:defRPr sz="1765">
                <a:solidFill>
                  <a:schemeClr val="bg2"/>
                </a:solidFill>
              </a:defRPr>
            </a:lvl1pPr>
          </a:lstStyle>
          <a:p>
            <a:r>
              <a:rPr lang="en-US"/>
              <a:t>Drag photo here</a:t>
            </a:r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6206258" y="2126197"/>
            <a:ext cx="2680310" cy="4286639"/>
          </a:xfrm>
          <a:blipFill dpi="0" rotWithShape="1">
            <a:blip r:embed="rId5"/>
            <a:srcRect/>
            <a:stretch>
              <a:fillRect/>
            </a:stretch>
          </a:blipFill>
        </p:spPr>
        <p:txBody>
          <a:bodyPr anchor="t">
            <a:noAutofit/>
          </a:bodyPr>
          <a:lstStyle>
            <a:lvl1pPr marL="0" indent="0" algn="ctr">
              <a:buNone/>
              <a:defRPr sz="1765">
                <a:solidFill>
                  <a:schemeClr val="bg2"/>
                </a:solidFill>
              </a:defRPr>
            </a:lvl1pPr>
          </a:lstStyle>
          <a:p>
            <a:r>
              <a:rPr lang="en-US"/>
              <a:t>Drag photo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554195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Photo layout 2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455994" y="4053249"/>
            <a:ext cx="2680310" cy="441146"/>
          </a:xfrm>
        </p:spPr>
        <p:txBody>
          <a:bodyPr/>
          <a:lstStyle>
            <a:lvl1pPr marL="0" indent="0" algn="ctr">
              <a:lnSpc>
                <a:spcPts val="1961"/>
              </a:lnSpc>
              <a:buNone/>
              <a:defRPr sz="1765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3331126" y="4053249"/>
            <a:ext cx="2680310" cy="441146"/>
          </a:xfrm>
        </p:spPr>
        <p:txBody>
          <a:bodyPr/>
          <a:lstStyle>
            <a:lvl1pPr marL="0" indent="0" algn="ctr">
              <a:lnSpc>
                <a:spcPts val="1961"/>
              </a:lnSpc>
              <a:buNone/>
              <a:defRPr sz="1765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9" name="Text Placeholder 16"/>
          <p:cNvSpPr>
            <a:spLocks noGrp="1"/>
          </p:cNvSpPr>
          <p:nvPr>
            <p:ph type="body" sz="quarter" idx="16" hasCustomPrompt="1"/>
          </p:nvPr>
        </p:nvSpPr>
        <p:spPr>
          <a:xfrm>
            <a:off x="6206258" y="4053249"/>
            <a:ext cx="2680310" cy="441146"/>
          </a:xfrm>
        </p:spPr>
        <p:txBody>
          <a:bodyPr/>
          <a:lstStyle>
            <a:lvl1pPr marL="0" indent="0" algn="ctr">
              <a:lnSpc>
                <a:spcPts val="1961"/>
              </a:lnSpc>
              <a:buNone/>
              <a:defRPr sz="1765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7" hasCustomPrompt="1"/>
          </p:nvPr>
        </p:nvSpPr>
        <p:spPr>
          <a:xfrm>
            <a:off x="9081389" y="4053249"/>
            <a:ext cx="2680310" cy="441146"/>
          </a:xfrm>
        </p:spPr>
        <p:txBody>
          <a:bodyPr/>
          <a:lstStyle>
            <a:lvl1pPr marL="0" indent="0" algn="ctr">
              <a:lnSpc>
                <a:spcPts val="1961"/>
              </a:lnSpc>
              <a:buNone/>
              <a:defRPr sz="1765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aption</a:t>
            </a:r>
          </a:p>
        </p:txBody>
      </p:sp>
    </p:spTree>
    <p:extLst>
      <p:ext uri="{BB962C8B-B14F-4D97-AF65-F5344CB8AC3E}">
        <p14:creationId xmlns:p14="http://schemas.microsoft.com/office/powerpoint/2010/main" val="1520353995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455995" y="2126198"/>
            <a:ext cx="3618381" cy="2602491"/>
          </a:xfr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303151" y="2126198"/>
            <a:ext cx="3607487" cy="2602491"/>
          </a:xfr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8139413" y="2126198"/>
            <a:ext cx="3623050" cy="2602491"/>
          </a:xfrm>
          <a:blipFill>
            <a:blip r:embed="rId4"/>
            <a:stretch>
              <a:fillRect/>
            </a:stretch>
          </a:blipFill>
        </p:spPr>
        <p:txBody>
          <a:bodyPr>
            <a:noAutofit/>
          </a:bodyPr>
          <a:lstStyle>
            <a:lvl1pPr marL="0" indent="0">
              <a:buNone/>
              <a:defRPr sz="1961">
                <a:solidFill>
                  <a:schemeClr val="bg2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Photo layou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4927922"/>
            <a:ext cx="3618381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2" b="1">
                <a:solidFill>
                  <a:schemeClr val="accent1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00039" y="4927922"/>
            <a:ext cx="3618381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2">
                <a:solidFill>
                  <a:schemeClr val="accent1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4083" y="4927922"/>
            <a:ext cx="3618381" cy="1205458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2">
                <a:solidFill>
                  <a:schemeClr val="accent1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543885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0" y="0"/>
            <a:ext cx="12199973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263887" y="4618991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966772"/>
            <a:ext cx="12192000" cy="3890220"/>
          </a:xfrm>
          <a:prstGeom prst="rect">
            <a:avLst/>
          </a:prstGeom>
          <a:gradFill>
            <a:gsLst>
              <a:gs pos="0">
                <a:srgbClr val="010A07">
                  <a:alpha val="0"/>
                </a:srgbClr>
              </a:gs>
              <a:gs pos="100000">
                <a:srgbClr val="010A07">
                  <a:alpha val="92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39"/>
            <a:endParaRPr lang="en-US" sz="1765">
              <a:solidFill>
                <a:srgbClr val="F1EFED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4576557"/>
            <a:ext cx="8354964" cy="1255173"/>
          </a:xfrm>
          <a:noFill/>
        </p:spPr>
        <p:txBody>
          <a:bodyPr lIns="146304" tIns="91440" rIns="146304" bIns="0" anchor="b" anchorCtr="0"/>
          <a:lstStyle>
            <a:lvl1pPr marL="0" algn="l" defTabSz="896042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5840966"/>
            <a:ext cx="8354964" cy="476135"/>
          </a:xfrm>
        </p:spPr>
        <p:txBody>
          <a:bodyPr tIns="0" bIns="109728">
            <a:noAutofit/>
          </a:bodyPr>
          <a:lstStyle>
            <a:lvl1pPr marL="0" indent="0" algn="l" defTabSz="896042" rtl="0" eaLnBrk="1" latinLnBrk="0" hangingPunct="1">
              <a:spcBef>
                <a:spcPts val="0"/>
              </a:spcBef>
              <a:buNone/>
              <a:defRPr lang="en-US" sz="2451" kern="1200" spc="-147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529" y="312533"/>
            <a:ext cx="1601410" cy="51641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0476" y="5645716"/>
            <a:ext cx="2004978" cy="73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254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1: one colum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882332"/>
            <a:ext cx="4758211" cy="61555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Regular 20/24. Em volor resequaectur.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2707597"/>
            <a:ext cx="4758210" cy="2539157"/>
          </a:xfrm>
        </p:spPr>
        <p:txBody>
          <a:bodyPr lIns="0" tIns="0" rIns="0" bIns="0"/>
          <a:lstStyle>
            <a:lvl1pPr marL="280121" indent="-280121">
              <a:lnSpc>
                <a:spcPts val="1765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372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1765"/>
              </a:lnSpc>
              <a:spcBef>
                <a:spcPts val="0"/>
              </a:spcBef>
              <a:buNone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r>
              <a:rPr lang="en-US"/>
              <a:t>Body copy 14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Icaecatur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46942278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2: two column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1957473"/>
            <a:ext cx="1693247" cy="282128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2" b="1">
                <a:solidFill>
                  <a:schemeClr val="accent1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78328" y="1957473"/>
            <a:ext cx="1693247" cy="2821285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it</a:t>
            </a:r>
            <a:r>
              <a:rPr lang="en-US"/>
              <a:t>. </a:t>
            </a:r>
            <a:r>
              <a:rPr lang="en-US" err="1"/>
              <a:t>Unt</a:t>
            </a:r>
            <a:r>
              <a:rPr lang="en-US"/>
              <a:t> faces et </a:t>
            </a:r>
            <a:r>
              <a:rPr lang="en-US" err="1"/>
              <a:t>labore</a:t>
            </a:r>
            <a:r>
              <a:rPr lang="en-US"/>
              <a:t> </a:t>
            </a:r>
            <a:r>
              <a:rPr lang="en-US" err="1"/>
              <a:t>ium</a:t>
            </a:r>
            <a:r>
              <a:rPr lang="en-US"/>
              <a:t> el id et re od </a:t>
            </a:r>
            <a:r>
              <a:rPr lang="en-US" err="1"/>
              <a:t>utem</a:t>
            </a:r>
            <a:r>
              <a:rPr lang="en-US"/>
              <a:t> que </a:t>
            </a:r>
            <a:r>
              <a:rPr lang="en-US" err="1"/>
              <a:t>nist</a:t>
            </a:r>
            <a:r>
              <a:rPr lang="en-US"/>
              <a:t> et </a:t>
            </a:r>
            <a:r>
              <a:rPr lang="en-US" err="1"/>
              <a:t>ped</a:t>
            </a:r>
            <a:r>
              <a:rPr lang="en-US"/>
              <a:t> </a:t>
            </a:r>
            <a:r>
              <a:rPr lang="en-US" err="1"/>
              <a:t>quia</a:t>
            </a:r>
            <a:r>
              <a:rPr lang="en-US"/>
              <a:t> </a:t>
            </a:r>
            <a:r>
              <a:rPr lang="en-US" err="1"/>
              <a:t>dolore</a:t>
            </a:r>
            <a:r>
              <a:rPr lang="en-US"/>
              <a:t> is et lam, </a:t>
            </a:r>
            <a:r>
              <a:rPr lang="en-US" err="1"/>
              <a:t>vendunt</a:t>
            </a:r>
            <a:r>
              <a:rPr lang="en-US"/>
              <a:t> </a:t>
            </a:r>
            <a:r>
              <a:rPr lang="en-US" err="1"/>
              <a:t>voluptatur</a:t>
            </a:r>
            <a:r>
              <a:rPr lang="en-US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560856009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3</a:t>
            </a:r>
          </a:p>
        </p:txBody>
      </p:sp>
    </p:spTree>
    <p:extLst>
      <p:ext uri="{BB962C8B-B14F-4D97-AF65-F5344CB8AC3E}">
        <p14:creationId xmlns:p14="http://schemas.microsoft.com/office/powerpoint/2010/main" val="3762363485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6"/>
          <p:cNvSpPr>
            <a:spLocks noGrp="1"/>
          </p:cNvSpPr>
          <p:nvPr>
            <p:ph type="chart" sz="quarter" idx="21"/>
          </p:nvPr>
        </p:nvSpPr>
        <p:spPr>
          <a:xfrm>
            <a:off x="455996" y="2126199"/>
            <a:ext cx="3618377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Chart examp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5661040"/>
            <a:ext cx="3618381" cy="153888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None/>
              <a:defRPr sz="980">
                <a:solidFill>
                  <a:schemeClr val="tx1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lang="en-US" sz="98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Caption title Segoe </a:t>
            </a:r>
            <a:r>
              <a:rPr lang="en-US" err="1"/>
              <a:t>Semibold</a:t>
            </a:r>
            <a:r>
              <a:rPr lang="en-US"/>
              <a:t> 10/12.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55992" y="5815322"/>
            <a:ext cx="3618381" cy="307777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  <a:defRPr sz="980" b="0" i="0">
                <a:solidFill>
                  <a:schemeClr val="tx1"/>
                </a:solidFill>
                <a:latin typeface="+mn-lt"/>
              </a:defRPr>
            </a:lvl1pPr>
            <a:lvl2pPr marL="0" marR="0" indent="0" algn="l" defTabSz="914367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980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4303155" y="5661040"/>
            <a:ext cx="3607484" cy="153888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None/>
              <a:defRPr sz="980">
                <a:solidFill>
                  <a:schemeClr val="tx1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lang="en-US" sz="98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Caption title Segoe </a:t>
            </a:r>
            <a:r>
              <a:rPr lang="en-US" err="1"/>
              <a:t>Semibold</a:t>
            </a:r>
            <a:r>
              <a:rPr lang="en-US"/>
              <a:t> 10/12. 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4303152" y="5815322"/>
            <a:ext cx="3607487" cy="307777"/>
          </a:xfrm>
        </p:spPr>
        <p:txBody>
          <a:bodyPr vert="horz" wrap="square" lIns="0" tIns="0" rIns="0" bIns="0" rtlCol="0">
            <a:spAutoFit/>
          </a:bodyPr>
          <a:lstStyle>
            <a:lvl1pPr>
              <a:tabLst/>
              <a:defRPr lang="en-US" sz="980" b="0" i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8139414" y="5661040"/>
            <a:ext cx="3629281" cy="153888"/>
          </a:xfrm>
        </p:spPr>
        <p:txBody>
          <a:bodyPr lIns="0" tIns="0" rIns="0" bIns="0"/>
          <a:lstStyle>
            <a:lvl1pPr marL="0" indent="0">
              <a:lnSpc>
                <a:spcPts val="1176"/>
              </a:lnSpc>
              <a:spcBef>
                <a:spcPts val="882"/>
              </a:spcBef>
              <a:buNone/>
              <a:defRPr sz="980">
                <a:solidFill>
                  <a:schemeClr val="tx1"/>
                </a:solidFill>
              </a:defRPr>
            </a:lvl1pPr>
            <a:lvl2pPr marL="0" marR="0" indent="0" algn="l" defTabSz="914367" rtl="0" eaLnBrk="1" fontAlgn="auto" latinLnBrk="0" hangingPunct="1">
              <a:lnSpc>
                <a:spcPts val="1176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lang="en-US" sz="98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Caption title Segoe </a:t>
            </a:r>
            <a:r>
              <a:rPr lang="en-US" err="1"/>
              <a:t>Semibold</a:t>
            </a:r>
            <a:r>
              <a:rPr lang="en-US"/>
              <a:t> 10/12. 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8139414" y="5815322"/>
            <a:ext cx="3629278" cy="307777"/>
          </a:xfrm>
        </p:spPr>
        <p:txBody>
          <a:bodyPr vert="horz" wrap="square" lIns="0" tIns="0" rIns="0" bIns="0" rtlCol="0">
            <a:spAutoFit/>
          </a:bodyPr>
          <a:lstStyle>
            <a:lvl1pPr marL="454418" indent="-454418">
              <a:tabLst/>
              <a:defRPr lang="en-US" sz="980" b="0" i="0" dirty="0" smtClean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indent="0">
              <a:lnSpc>
                <a:spcPts val="1176"/>
              </a:lnSpc>
              <a:spcBef>
                <a:spcPts val="882"/>
              </a:spcBef>
              <a:buFont typeface="Arial" panose="020B0604020202020204" pitchFamily="34" charset="0"/>
              <a:buNone/>
            </a:pPr>
            <a:r>
              <a:rPr lang="en-US"/>
              <a:t>Caption body copy Segoe Regular 10/12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.</a:t>
            </a:r>
          </a:p>
        </p:txBody>
      </p:sp>
      <p:sp>
        <p:nvSpPr>
          <p:cNvPr id="20" name="Chart Placeholder 6"/>
          <p:cNvSpPr>
            <a:spLocks noGrp="1"/>
          </p:cNvSpPr>
          <p:nvPr>
            <p:ph type="chart" sz="quarter" idx="22"/>
          </p:nvPr>
        </p:nvSpPr>
        <p:spPr>
          <a:xfrm>
            <a:off x="4303152" y="2126199"/>
            <a:ext cx="3607487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/>
          <p:cNvSpPr>
            <a:spLocks noGrp="1"/>
          </p:cNvSpPr>
          <p:nvPr>
            <p:ph type="chart" sz="quarter" idx="23"/>
          </p:nvPr>
        </p:nvSpPr>
        <p:spPr>
          <a:xfrm>
            <a:off x="8139412" y="2126199"/>
            <a:ext cx="3623051" cy="3534843"/>
          </a:xfrm>
        </p:spPr>
        <p:txBody>
          <a:bodyPr anchor="ctr">
            <a:noAutofit/>
          </a:bodyPr>
          <a:lstStyle>
            <a:lvl1pPr marL="0" indent="0" algn="ctr">
              <a:buNone/>
              <a:defRPr sz="2353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006885649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Table styling</a:t>
            </a:r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55995" y="2126198"/>
            <a:ext cx="11306469" cy="673454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955496397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994" y="1837309"/>
            <a:ext cx="8067822" cy="1793104"/>
          </a:xfrm>
          <a:noFill/>
        </p:spPr>
        <p:txBody>
          <a:bodyPr lIns="0" tIns="0" rIns="0" bIns="0" anchor="t" anchorCtr="0"/>
          <a:lstStyle>
            <a:lvl1pPr>
              <a:lnSpc>
                <a:spcPts val="2941"/>
              </a:lnSpc>
              <a:defRPr sz="2745" spc="-147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pic>
        <p:nvPicPr>
          <p:cNvPr id="64" name="MS logo gray - EM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55995" y="440495"/>
            <a:ext cx="917173" cy="196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231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455996" y="440495"/>
            <a:ext cx="914788" cy="196431"/>
            <a:chOff x="465139" y="449264"/>
            <a:chExt cx="933131" cy="200341"/>
          </a:xfrm>
        </p:grpSpPr>
        <p:pic>
          <p:nvPicPr>
            <p:cNvPr id="5" name="Picture 4"/>
            <p:cNvPicPr>
              <a:picLocks noChangeAspect="1"/>
            </p:cNvPicPr>
            <p:nvPr userDrawn="1"/>
          </p:nvPicPr>
          <p:blipFill rotWithShape="1">
            <a:blip r:embed="rId2"/>
            <a:srcRect l="26716" r="872" b="4064"/>
            <a:stretch/>
          </p:blipFill>
          <p:spPr bwMode="black">
            <a:xfrm>
              <a:off x="721996" y="459092"/>
              <a:ext cx="676274" cy="187779"/>
            </a:xfrm>
            <a:prstGeom prst="rect">
              <a:avLst/>
            </a:prstGeom>
          </p:spPr>
        </p:pic>
        <p:pic>
          <p:nvPicPr>
            <p:cNvPr id="6" name="MS logo gray - EMF"/>
            <p:cNvPicPr>
              <a:picLocks noChangeAspect="1"/>
            </p:cNvPicPr>
            <p:nvPr userDrawn="1"/>
          </p:nvPicPr>
          <p:blipFill rotWithShape="1">
            <a:blip r:embed="rId3"/>
            <a:srcRect r="76414"/>
            <a:stretch/>
          </p:blipFill>
          <p:spPr bwMode="black">
            <a:xfrm>
              <a:off x="465139" y="449264"/>
              <a:ext cx="220661" cy="200341"/>
            </a:xfrm>
            <a:prstGeom prst="rect">
              <a:avLst/>
            </a:prstGeom>
          </p:spPr>
        </p:pic>
      </p:grp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55994" y="1837309"/>
            <a:ext cx="8067822" cy="1793104"/>
          </a:xfrm>
          <a:noFill/>
        </p:spPr>
        <p:txBody>
          <a:bodyPr lIns="0" tIns="0" rIns="0" bIns="0" anchor="t" anchorCtr="0"/>
          <a:lstStyle>
            <a:lvl1pPr>
              <a:lnSpc>
                <a:spcPts val="2941"/>
              </a:lnSpc>
              <a:defRPr sz="2745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45009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69240" y="6099190"/>
            <a:ext cx="4482124" cy="4677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79285" rIns="179285" bIns="179285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448212" y="470067"/>
            <a:ext cx="1454257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8283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bg>
      <p:bgPr>
        <a:solidFill>
          <a:srgbClr val="F0F2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994" y="365126"/>
            <a:ext cx="10515600" cy="418646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 b="0" i="0">
                <a:solidFill>
                  <a:srgbClr val="283750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379065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8535" y="-489"/>
            <a:ext cx="12210535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263886" y="4618990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966772"/>
            <a:ext cx="12192000" cy="3890220"/>
          </a:xfrm>
          <a:prstGeom prst="rect">
            <a:avLst/>
          </a:prstGeom>
          <a:gradFill>
            <a:gsLst>
              <a:gs pos="0">
                <a:srgbClr val="010A07">
                  <a:alpha val="0"/>
                </a:srgbClr>
              </a:gs>
              <a:gs pos="100000">
                <a:srgbClr val="010A07">
                  <a:alpha val="92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/>
            <a:endParaRPr lang="en-US" sz="1765">
              <a:solidFill>
                <a:srgbClr val="F1EFED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4576556"/>
            <a:ext cx="8354964" cy="1255173"/>
          </a:xfrm>
          <a:noFill/>
        </p:spPr>
        <p:txBody>
          <a:bodyPr lIns="146304" tIns="91440" rIns="146304" bIns="0" anchor="b" anchorCtr="0"/>
          <a:lstStyle>
            <a:lvl1pPr marL="0" algn="l" defTabSz="896214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5840965"/>
            <a:ext cx="8354964" cy="476135"/>
          </a:xfrm>
        </p:spPr>
        <p:txBody>
          <a:bodyPr tIns="0" bIns="109728">
            <a:noAutofit/>
          </a:bodyPr>
          <a:lstStyle>
            <a:lvl1pPr marL="0" indent="0" algn="l" defTabSz="896214" rtl="0" eaLnBrk="1" latinLnBrk="0" hangingPunct="1">
              <a:spcBef>
                <a:spcPts val="0"/>
              </a:spcBef>
              <a:buNone/>
              <a:defRPr lang="en-US" sz="2451" kern="1200" spc="-147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529" y="312533"/>
            <a:ext cx="1601410" cy="51641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0476" y="5645716"/>
            <a:ext cx="2004978" cy="73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24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139" y="0"/>
            <a:ext cx="12193832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263887" y="4618991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966772"/>
            <a:ext cx="12192000" cy="3890220"/>
          </a:xfrm>
          <a:prstGeom prst="rect">
            <a:avLst/>
          </a:prstGeom>
          <a:gradFill>
            <a:gsLst>
              <a:gs pos="0">
                <a:srgbClr val="010A07">
                  <a:alpha val="0"/>
                </a:srgbClr>
              </a:gs>
              <a:gs pos="100000">
                <a:srgbClr val="010A07">
                  <a:alpha val="92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39"/>
            <a:endParaRPr lang="en-US" sz="1765">
              <a:solidFill>
                <a:srgbClr val="F1EFED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4576557"/>
            <a:ext cx="8354964" cy="1255173"/>
          </a:xfrm>
          <a:noFill/>
        </p:spPr>
        <p:txBody>
          <a:bodyPr lIns="146304" tIns="91440" rIns="146304" bIns="0" anchor="b" anchorCtr="0"/>
          <a:lstStyle>
            <a:lvl1pPr marL="0" algn="l" defTabSz="896042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5840966"/>
            <a:ext cx="8354964" cy="476135"/>
          </a:xfrm>
        </p:spPr>
        <p:txBody>
          <a:bodyPr tIns="0" bIns="109728">
            <a:noAutofit/>
          </a:bodyPr>
          <a:lstStyle>
            <a:lvl1pPr marL="0" indent="0" algn="l" defTabSz="896042" rtl="0" eaLnBrk="1" latinLnBrk="0" hangingPunct="1">
              <a:spcBef>
                <a:spcPts val="0"/>
              </a:spcBef>
              <a:buNone/>
              <a:defRPr lang="en-US" sz="2451" kern="1200" spc="-147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529" y="312533"/>
            <a:ext cx="1601410" cy="51641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0476" y="5645716"/>
            <a:ext cx="2004978" cy="73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8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/>
          <a:stretch/>
        </p:blipFill>
        <p:spPr>
          <a:xfrm>
            <a:off x="0" y="0"/>
            <a:ext cx="12199973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263886" y="4618990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966772"/>
            <a:ext cx="12192000" cy="3890220"/>
          </a:xfrm>
          <a:prstGeom prst="rect">
            <a:avLst/>
          </a:prstGeom>
          <a:gradFill>
            <a:gsLst>
              <a:gs pos="0">
                <a:srgbClr val="010A07">
                  <a:alpha val="0"/>
                </a:srgbClr>
              </a:gs>
              <a:gs pos="100000">
                <a:srgbClr val="010A07">
                  <a:alpha val="92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/>
            <a:endParaRPr lang="en-US" sz="1765">
              <a:solidFill>
                <a:srgbClr val="F1EFED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4576556"/>
            <a:ext cx="8354964" cy="1255173"/>
          </a:xfrm>
          <a:noFill/>
        </p:spPr>
        <p:txBody>
          <a:bodyPr lIns="146304" tIns="91440" rIns="146304" bIns="0" anchor="b" anchorCtr="0"/>
          <a:lstStyle>
            <a:lvl1pPr marL="0" algn="l" defTabSz="896214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5840965"/>
            <a:ext cx="8354964" cy="476135"/>
          </a:xfrm>
        </p:spPr>
        <p:txBody>
          <a:bodyPr tIns="0" bIns="109728">
            <a:noAutofit/>
          </a:bodyPr>
          <a:lstStyle>
            <a:lvl1pPr marL="0" indent="0" algn="l" defTabSz="896214" rtl="0" eaLnBrk="1" latinLnBrk="0" hangingPunct="1">
              <a:spcBef>
                <a:spcPts val="0"/>
              </a:spcBef>
              <a:buNone/>
              <a:defRPr lang="en-US" sz="2451" kern="1200" spc="-147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529" y="312533"/>
            <a:ext cx="1601410" cy="51641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0476" y="5645716"/>
            <a:ext cx="2004978" cy="73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6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6139" y="0"/>
            <a:ext cx="12193832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263886" y="4618990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966772"/>
            <a:ext cx="12192000" cy="3890220"/>
          </a:xfrm>
          <a:prstGeom prst="rect">
            <a:avLst/>
          </a:prstGeom>
          <a:gradFill>
            <a:gsLst>
              <a:gs pos="0">
                <a:srgbClr val="010A07">
                  <a:alpha val="0"/>
                </a:srgbClr>
              </a:gs>
              <a:gs pos="100000">
                <a:srgbClr val="010A07">
                  <a:alpha val="92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/>
            <a:endParaRPr lang="en-US" sz="1765">
              <a:solidFill>
                <a:srgbClr val="F1EFED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4576556"/>
            <a:ext cx="8354964" cy="1255173"/>
          </a:xfrm>
          <a:noFill/>
        </p:spPr>
        <p:txBody>
          <a:bodyPr lIns="146304" tIns="91440" rIns="146304" bIns="0" anchor="b" anchorCtr="0"/>
          <a:lstStyle>
            <a:lvl1pPr marL="0" algn="l" defTabSz="896214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5840965"/>
            <a:ext cx="8354964" cy="476135"/>
          </a:xfrm>
        </p:spPr>
        <p:txBody>
          <a:bodyPr tIns="0" bIns="109728">
            <a:noAutofit/>
          </a:bodyPr>
          <a:lstStyle>
            <a:lvl1pPr marL="0" indent="0" algn="l" defTabSz="896214" rtl="0" eaLnBrk="1" latinLnBrk="0" hangingPunct="1">
              <a:spcBef>
                <a:spcPts val="0"/>
              </a:spcBef>
              <a:buNone/>
              <a:defRPr lang="en-US" sz="2451" kern="1200" spc="-147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529" y="312533"/>
            <a:ext cx="1601410" cy="51641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0476" y="5645716"/>
            <a:ext cx="2004978" cy="73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872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6139" y="0"/>
            <a:ext cx="12206112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263886" y="4618990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966772"/>
            <a:ext cx="12192000" cy="3890220"/>
          </a:xfrm>
          <a:prstGeom prst="rect">
            <a:avLst/>
          </a:prstGeom>
          <a:gradFill>
            <a:gsLst>
              <a:gs pos="0">
                <a:srgbClr val="010A07">
                  <a:alpha val="0"/>
                </a:srgbClr>
              </a:gs>
              <a:gs pos="100000">
                <a:srgbClr val="010A07">
                  <a:alpha val="92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/>
            <a:endParaRPr lang="en-US" sz="1765">
              <a:solidFill>
                <a:srgbClr val="F1EFED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4576556"/>
            <a:ext cx="8354964" cy="1255173"/>
          </a:xfrm>
          <a:noFill/>
        </p:spPr>
        <p:txBody>
          <a:bodyPr lIns="146304" tIns="91440" rIns="146304" bIns="0" anchor="b" anchorCtr="0"/>
          <a:lstStyle>
            <a:lvl1pPr marL="0" algn="l" defTabSz="896214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5840965"/>
            <a:ext cx="8354964" cy="476135"/>
          </a:xfrm>
        </p:spPr>
        <p:txBody>
          <a:bodyPr tIns="0" bIns="109728">
            <a:noAutofit/>
          </a:bodyPr>
          <a:lstStyle>
            <a:lvl1pPr marL="0" indent="0" algn="l" defTabSz="896214" rtl="0" eaLnBrk="1" latinLnBrk="0" hangingPunct="1">
              <a:spcBef>
                <a:spcPts val="0"/>
              </a:spcBef>
              <a:buNone/>
              <a:defRPr lang="en-US" sz="2451" kern="1200" spc="-147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529" y="312533"/>
            <a:ext cx="1601410" cy="51641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0476" y="5645716"/>
            <a:ext cx="2004978" cy="73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15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0"/>
            <a:ext cx="12187692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263886" y="4618990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966772"/>
            <a:ext cx="12192000" cy="3890220"/>
          </a:xfrm>
          <a:prstGeom prst="rect">
            <a:avLst/>
          </a:prstGeom>
          <a:gradFill>
            <a:gsLst>
              <a:gs pos="0">
                <a:srgbClr val="010A07">
                  <a:alpha val="0"/>
                </a:srgbClr>
              </a:gs>
              <a:gs pos="100000">
                <a:srgbClr val="010A07">
                  <a:alpha val="92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4"/>
            <a:endParaRPr lang="en-US" sz="1765">
              <a:solidFill>
                <a:srgbClr val="F1EFED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4576556"/>
            <a:ext cx="8354964" cy="1255173"/>
          </a:xfrm>
          <a:noFill/>
        </p:spPr>
        <p:txBody>
          <a:bodyPr lIns="146304" tIns="91440" rIns="146304" bIns="0" anchor="b" anchorCtr="0"/>
          <a:lstStyle>
            <a:lvl1pPr marL="0" algn="l" defTabSz="896214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5840965"/>
            <a:ext cx="8354964" cy="476135"/>
          </a:xfrm>
        </p:spPr>
        <p:txBody>
          <a:bodyPr tIns="0" bIns="109728">
            <a:noAutofit/>
          </a:bodyPr>
          <a:lstStyle>
            <a:lvl1pPr marL="0" indent="0" algn="l" defTabSz="896214" rtl="0" eaLnBrk="1" latinLnBrk="0" hangingPunct="1">
              <a:spcBef>
                <a:spcPts val="0"/>
              </a:spcBef>
              <a:buNone/>
              <a:defRPr lang="en-US" sz="2451" kern="1200" spc="-147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529" y="312533"/>
            <a:ext cx="1601410" cy="51641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0476" y="5645716"/>
            <a:ext cx="2004978" cy="73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708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Photo_O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263886" y="4618990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59" tIns="143407" rIns="179259" bIns="14340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927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1346512"/>
            <a:ext cx="11531246" cy="1255173"/>
          </a:xfrm>
          <a:noFill/>
        </p:spPr>
        <p:txBody>
          <a:bodyPr lIns="146304" tIns="91440" rIns="146304" bIns="0" anchor="b" anchorCtr="0"/>
          <a:lstStyle>
            <a:lvl1pPr marL="0" algn="l" defTabSz="896214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2831989"/>
            <a:ext cx="11531246" cy="476135"/>
          </a:xfrm>
        </p:spPr>
        <p:txBody>
          <a:bodyPr tIns="0" bIns="109728">
            <a:noAutofit/>
          </a:bodyPr>
          <a:lstStyle>
            <a:lvl1pPr marL="0" indent="0" algn="l" defTabSz="896214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353" kern="1200" spc="0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490043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99665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3920" b="0" i="0" u="none" kern="1200" spc="-147" baseline="0" dirty="0">
                <a:solidFill>
                  <a:schemeClr val="accent5">
                    <a:lumMod val="50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idx="1"/>
          </p:nvPr>
        </p:nvSpPr>
        <p:spPr>
          <a:xfrm>
            <a:off x="269242" y="1189178"/>
            <a:ext cx="11653521" cy="169168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indent="0">
              <a:lnSpc>
                <a:spcPct val="100000"/>
              </a:lnSpc>
              <a:buNone/>
              <a:defRPr sz="2353">
                <a:latin typeface="+mn-lt"/>
              </a:defRPr>
            </a:lvl1pPr>
            <a:lvl2pPr marL="336081" indent="0">
              <a:lnSpc>
                <a:spcPct val="100000"/>
              </a:lnSpc>
              <a:buNone/>
              <a:defRPr sz="1800">
                <a:latin typeface="+mn-lt"/>
              </a:defRPr>
            </a:lvl2pPr>
            <a:lvl3pPr marL="560133" indent="0">
              <a:lnSpc>
                <a:spcPct val="100000"/>
              </a:lnSpc>
              <a:buNone/>
              <a:defRPr sz="1600">
                <a:latin typeface="+mn-lt"/>
              </a:defRPr>
            </a:lvl3pPr>
            <a:lvl4pPr marL="784187" indent="0">
              <a:lnSpc>
                <a:spcPct val="100000"/>
              </a:lnSpc>
              <a:buNone/>
              <a:defRPr sz="1400">
                <a:latin typeface="+mn-lt"/>
              </a:defRPr>
            </a:lvl4pPr>
            <a:lvl5pPr marL="1008240" indent="0">
              <a:lnSpc>
                <a:spcPct val="100000"/>
              </a:lnSpc>
              <a:buNone/>
              <a:defRPr sz="14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91413751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99665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4312" b="0" i="0" u="none" kern="1200" spc="-147" baseline="0" dirty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11248365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Sub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06897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3920" b="0" i="0" u="none" kern="1200" spc="-147" baseline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68709846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Subtitle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06897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4312" b="0" i="0" u="none" kern="1200" spc="-147" baseline="0" dirty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69241" y="1186958"/>
            <a:ext cx="11655078" cy="669799"/>
          </a:xfrm>
        </p:spPr>
        <p:txBody>
          <a:bodyPr tIns="0" bIns="0"/>
          <a:lstStyle>
            <a:lvl1pPr marL="0" indent="0">
              <a:buNone/>
              <a:defRPr lang="en-US" sz="1961" kern="1200" spc="-29" baseline="0" dirty="0">
                <a:solidFill>
                  <a:srgbClr val="ED6722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marL="0" lvl="0" algn="l" defTabSz="896214" rtl="0" eaLnBrk="1" latinLnBrk="0" hangingPunct="1"/>
            <a:r>
              <a:rPr lang="en-US"/>
              <a:t>Edit Master text styles</a:t>
            </a:r>
          </a:p>
          <a:p>
            <a:pPr marL="0" lvl="1" algn="l" defTabSz="896214" rtl="0" eaLnBrk="1" latinLnBrk="0" hangingPunct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65857027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2757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262726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139" y="0"/>
            <a:ext cx="12206112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263887" y="4618991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966772"/>
            <a:ext cx="12192000" cy="3890220"/>
          </a:xfrm>
          <a:prstGeom prst="rect">
            <a:avLst/>
          </a:prstGeom>
          <a:gradFill>
            <a:gsLst>
              <a:gs pos="0">
                <a:srgbClr val="010A07">
                  <a:alpha val="0"/>
                </a:srgbClr>
              </a:gs>
              <a:gs pos="100000">
                <a:srgbClr val="010A07">
                  <a:alpha val="92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39"/>
            <a:endParaRPr lang="en-US" sz="1765">
              <a:solidFill>
                <a:srgbClr val="F1EFED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4576557"/>
            <a:ext cx="8354964" cy="1255173"/>
          </a:xfrm>
          <a:noFill/>
        </p:spPr>
        <p:txBody>
          <a:bodyPr lIns="146304" tIns="91440" rIns="146304" bIns="0" anchor="b" anchorCtr="0"/>
          <a:lstStyle>
            <a:lvl1pPr marL="0" algn="l" defTabSz="896042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5840966"/>
            <a:ext cx="8354964" cy="476135"/>
          </a:xfrm>
        </p:spPr>
        <p:txBody>
          <a:bodyPr tIns="0" bIns="109728">
            <a:noAutofit/>
          </a:bodyPr>
          <a:lstStyle>
            <a:lvl1pPr marL="0" indent="0" algn="l" defTabSz="896042" rtl="0" eaLnBrk="1" latinLnBrk="0" hangingPunct="1">
              <a:spcBef>
                <a:spcPts val="0"/>
              </a:spcBef>
              <a:buNone/>
              <a:defRPr lang="en-US" sz="2451" kern="1200" spc="-147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529" y="312533"/>
            <a:ext cx="1601410" cy="51641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0476" y="5645716"/>
            <a:ext cx="2004978" cy="73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100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6608659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79467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1" y="6170060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gradFill>
                  <a:gsLst>
                    <a:gs pos="0">
                      <a:srgbClr val="2C292A"/>
                    </a:gs>
                    <a:gs pos="100000">
                      <a:srgbClr val="2C292A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487261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5246" y="3703197"/>
            <a:ext cx="10983828" cy="806897"/>
          </a:xfrm>
        </p:spPr>
        <p:txBody>
          <a:bodyPr/>
          <a:lstStyle>
            <a:lvl1pPr marL="0" algn="ctr" defTabSz="895702" rtl="0" eaLnBrk="1" latinLnBrk="0" hangingPunct="1">
              <a:spcBef>
                <a:spcPct val="0"/>
              </a:spcBef>
              <a:buNone/>
              <a:defRPr lang="en-US" sz="3528" b="0" i="0" u="none" kern="1200" spc="0" baseline="0" dirty="0">
                <a:solidFill>
                  <a:schemeClr val="tx2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5325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80"/>
            <a:ext cx="11655840" cy="899665"/>
          </a:xfrm>
        </p:spPr>
        <p:txBody>
          <a:bodyPr/>
          <a:lstStyle>
            <a:lvl1pPr marL="0" algn="l" defTabSz="895702" rtl="0" eaLnBrk="1" latinLnBrk="0" hangingPunct="1">
              <a:spcBef>
                <a:spcPct val="0"/>
              </a:spcBef>
              <a:buNone/>
              <a:defRPr lang="en-US" sz="3528" b="0" i="0" u="none" kern="1200" spc="0" baseline="0" dirty="0">
                <a:solidFill>
                  <a:srgbClr val="2F2F2F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81964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8" y="620431"/>
            <a:ext cx="11306469" cy="403137"/>
          </a:xfrm>
        </p:spPr>
        <p:txBody>
          <a:bodyPr wrap="square" lIns="0" tIns="0" rIns="0" bIns="0" anchor="ctr">
            <a:spAutoFit/>
          </a:bodyPr>
          <a:lstStyle>
            <a:lvl1pPr>
              <a:lnSpc>
                <a:spcPts val="3075"/>
              </a:lnSpc>
              <a:defRPr sz="2745" strike="noStrike">
                <a:solidFill>
                  <a:srgbClr val="2F2F2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087184156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36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 spc="-100" baseline="0">
                <a:solidFill>
                  <a:srgbClr val="0078D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0735126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5"/>
          <p:cNvSpPr>
            <a:spLocks noGrp="1"/>
          </p:cNvSpPr>
          <p:nvPr>
            <p:ph type="title" hasCustomPrompt="1"/>
          </p:nvPr>
        </p:nvSpPr>
        <p:spPr>
          <a:xfrm>
            <a:off x="455994" y="881921"/>
            <a:ext cx="7454643" cy="355819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5294" spc="-147" dirty="0">
                <a:solidFill>
                  <a:schemeClr val="tx2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087668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rgbClr val="2F2F2F"/>
                </a:solidFill>
              </a:defRPr>
            </a:lvl1pPr>
          </a:lstStyle>
          <a:p>
            <a:r>
              <a:rPr lang="en-US"/>
              <a:t>Text option 1: three column bulleted lis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5995" y="1882331"/>
            <a:ext cx="7454644" cy="923330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2353"/>
              </a:lnSpc>
              <a:buNone/>
              <a:defRPr sz="1961" b="0" i="0">
                <a:solidFill>
                  <a:schemeClr val="tx1"/>
                </a:solidFill>
                <a:latin typeface="+mn-lt"/>
              </a:defRPr>
            </a:lvl1pPr>
            <a:lvl2pPr marL="224097" indent="0">
              <a:buNone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Subhead Segoe UI Regular 20/24. Dis </a:t>
            </a:r>
            <a:r>
              <a:rPr lang="en-US" err="1"/>
              <a:t>apid</a:t>
            </a:r>
            <a:r>
              <a:rPr lang="en-US"/>
              <a:t> </a:t>
            </a:r>
            <a:r>
              <a:rPr lang="en-US" err="1"/>
              <a:t>es</a:t>
            </a:r>
            <a:r>
              <a:rPr lang="en-US"/>
              <a:t> </a:t>
            </a:r>
            <a:r>
              <a:rPr lang="en-US" err="1"/>
              <a:t>simusanditis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 ex et </a:t>
            </a:r>
            <a:r>
              <a:rPr lang="en-US" err="1"/>
              <a:t>illore</a:t>
            </a:r>
            <a:r>
              <a:rPr lang="en-US"/>
              <a:t>, </a:t>
            </a:r>
            <a:r>
              <a:rPr lang="en-US" err="1"/>
              <a:t>nectationet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dic</a:t>
            </a:r>
            <a:r>
              <a:rPr lang="en-US"/>
              <a:t> </a:t>
            </a:r>
            <a:r>
              <a:rPr lang="en-US" err="1"/>
              <a:t>tem</a:t>
            </a:r>
            <a:r>
              <a:rPr lang="en-US"/>
              <a:t> </a:t>
            </a:r>
            <a:r>
              <a:rPr lang="en-US" err="1"/>
              <a:t>vit</a:t>
            </a:r>
            <a:r>
              <a:rPr lang="en-US"/>
              <a:t> </a:t>
            </a:r>
            <a:r>
              <a:rPr lang="en-US" err="1"/>
              <a:t>velestium</a:t>
            </a:r>
            <a:r>
              <a:rPr lang="en-US"/>
              <a:t> </a:t>
            </a:r>
            <a:r>
              <a:rPr lang="en-US" err="1"/>
              <a:t>reperro</a:t>
            </a:r>
            <a:r>
              <a:rPr lang="en-US"/>
              <a:t> </a:t>
            </a:r>
            <a:r>
              <a:rPr lang="en-US" err="1"/>
              <a:t>rroviduntion</a:t>
            </a:r>
            <a:r>
              <a:rPr lang="en-US"/>
              <a:t> </a:t>
            </a:r>
            <a:r>
              <a:rPr lang="en-US" err="1"/>
              <a:t>conem</a:t>
            </a:r>
            <a:r>
              <a:rPr lang="en-US"/>
              <a:t> </a:t>
            </a:r>
            <a:r>
              <a:rPr lang="en-US" err="1"/>
              <a:t>rehend</a:t>
            </a:r>
            <a:r>
              <a:rPr lang="en-US"/>
              <a:t>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5995" y="3151389"/>
            <a:ext cx="3618381" cy="2678201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sz="1372" b="1">
                <a:solidFill>
                  <a:schemeClr val="accent1"/>
                </a:solidFill>
                <a:latin typeface="+mn-lt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313110" y="3160782"/>
            <a:ext cx="3597528" cy="2678201"/>
          </a:xfrm>
        </p:spPr>
        <p:txBody>
          <a:bodyPr lIns="0" tIns="0" rIns="0" bIns="0"/>
          <a:lstStyle>
            <a:lvl1pPr marL="0" marR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8140346" y="3151389"/>
            <a:ext cx="3622117" cy="2678201"/>
          </a:xfrm>
        </p:spPr>
        <p:txBody>
          <a:bodyPr lIns="0" tIns="0" rIns="0" bIns="0"/>
          <a:lstStyle>
            <a:lvl1pPr marL="0" indent="0">
              <a:lnSpc>
                <a:spcPts val="1765"/>
              </a:lnSpc>
              <a:spcBef>
                <a:spcPts val="882"/>
              </a:spcBef>
              <a:buNone/>
              <a:defRPr lang="en-US" sz="1372" b="1" kern="1200" spc="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80121" marR="0" indent="-280121" algn="l" defTabSz="914367" rtl="0" eaLnBrk="1" fontAlgn="auto" latinLnBrk="0" hangingPunct="1">
              <a:lnSpc>
                <a:spcPts val="1765"/>
              </a:lnSpc>
              <a:spcBef>
                <a:spcPts val="441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 sz="1372">
                <a:solidFill>
                  <a:schemeClr val="tx1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marL="0" marR="0" lvl="0" indent="0" algn="l" defTabSz="914367" rtl="0" eaLnBrk="1" fontAlgn="auto" latinLnBrk="0" hangingPunct="1">
              <a:lnSpc>
                <a:spcPts val="1765"/>
              </a:lnSpc>
              <a:spcBef>
                <a:spcPts val="882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Paragraph title Segoe UI bold 14</a:t>
            </a:r>
          </a:p>
          <a:p>
            <a:pPr lvl="1"/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marL="280121" marR="0" lvl="1" indent="-280121" algn="l" defTabSz="914367" rtl="0" eaLnBrk="1" fontAlgn="auto" latinLnBrk="0" hangingPunct="1">
              <a:lnSpc>
                <a:spcPts val="1765"/>
              </a:lnSpc>
              <a:spcBef>
                <a:spcPts val="13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Body copy Segoe Regular 14/18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ur</a:t>
            </a:r>
            <a:r>
              <a:rPr lang="en-US"/>
              <a:t>. </a:t>
            </a:r>
            <a:r>
              <a:rPr lang="en-US" err="1"/>
              <a:t>Urestempor</a:t>
            </a:r>
            <a:r>
              <a:rPr lang="en-US"/>
              <a:t> </a:t>
            </a:r>
            <a:r>
              <a:rPr lang="en-US" err="1"/>
              <a:t>ra</a:t>
            </a:r>
            <a:r>
              <a:rPr lang="en-US"/>
              <a:t> </a:t>
            </a:r>
            <a:r>
              <a:rPr lang="en-US" err="1"/>
              <a:t>aut</a:t>
            </a:r>
            <a:r>
              <a:rPr lang="en-US"/>
              <a:t> </a:t>
            </a:r>
            <a:r>
              <a:rPr lang="en-US" err="1"/>
              <a:t>velique</a:t>
            </a:r>
            <a:r>
              <a:rPr lang="en-US"/>
              <a:t> </a:t>
            </a:r>
            <a:r>
              <a:rPr lang="en-US" err="1"/>
              <a:t>perum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qui </a:t>
            </a:r>
            <a:r>
              <a:rPr lang="en-US" err="1"/>
              <a:t>omnimus</a:t>
            </a:r>
            <a:r>
              <a:rPr lang="en-US"/>
              <a:t>, </a:t>
            </a:r>
            <a:r>
              <a:rPr lang="en-US" err="1"/>
              <a:t>sunt</a:t>
            </a:r>
            <a:r>
              <a:rPr lang="en-US"/>
              <a:t> </a:t>
            </a:r>
            <a:r>
              <a:rPr lang="en-US" err="1"/>
              <a:t>fuga</a:t>
            </a:r>
            <a:r>
              <a:rPr lang="en-US"/>
              <a:t>.</a:t>
            </a:r>
          </a:p>
          <a:p>
            <a:pPr lvl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297302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69302" y="2084187"/>
            <a:ext cx="8964185" cy="1793090"/>
          </a:xfrm>
          <a:noFill/>
        </p:spPr>
        <p:txBody>
          <a:bodyPr lIns="146304" tIns="91440" rIns="146304" bIns="91440" anchor="t" anchorCtr="0"/>
          <a:lstStyle>
            <a:lvl1pPr>
              <a:defRPr sz="5294" spc="-98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69301" y="3878574"/>
            <a:ext cx="7171337" cy="1792326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37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51632" y="470067"/>
            <a:ext cx="1423303" cy="304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479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87692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auto">
          <a:xfrm>
            <a:off x="263887" y="4618991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966772"/>
            <a:ext cx="12192000" cy="3890220"/>
          </a:xfrm>
          <a:prstGeom prst="rect">
            <a:avLst/>
          </a:prstGeom>
          <a:gradFill>
            <a:gsLst>
              <a:gs pos="0">
                <a:srgbClr val="010A07">
                  <a:alpha val="0"/>
                </a:srgbClr>
              </a:gs>
              <a:gs pos="100000">
                <a:srgbClr val="010A07">
                  <a:alpha val="92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39"/>
            <a:endParaRPr lang="en-US" sz="1765">
              <a:solidFill>
                <a:srgbClr val="F1EFED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4576557"/>
            <a:ext cx="8354964" cy="1255173"/>
          </a:xfrm>
          <a:noFill/>
        </p:spPr>
        <p:txBody>
          <a:bodyPr lIns="146304" tIns="91440" rIns="146304" bIns="0" anchor="b" anchorCtr="0"/>
          <a:lstStyle>
            <a:lvl1pPr marL="0" algn="l" defTabSz="896042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5840966"/>
            <a:ext cx="8354964" cy="476135"/>
          </a:xfrm>
        </p:spPr>
        <p:txBody>
          <a:bodyPr tIns="0" bIns="109728">
            <a:noAutofit/>
          </a:bodyPr>
          <a:lstStyle>
            <a:lvl1pPr marL="0" indent="0" algn="l" defTabSz="896042" rtl="0" eaLnBrk="1" latinLnBrk="0" hangingPunct="1">
              <a:spcBef>
                <a:spcPts val="0"/>
              </a:spcBef>
              <a:buNone/>
              <a:defRPr lang="en-US" sz="2451" kern="1200" spc="-147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529" y="312533"/>
            <a:ext cx="1601410" cy="51641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20476" y="5645716"/>
            <a:ext cx="2004978" cy="737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922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MS logo white - EM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304549" y="6197910"/>
            <a:ext cx="1423303" cy="304828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8D3F649-DEE7-4D5F-B18B-F8C443CBFA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18132" y="4454779"/>
            <a:ext cx="1955736" cy="482981"/>
          </a:xfrm>
          <a:noFill/>
        </p:spPr>
        <p:txBody>
          <a:bodyPr lIns="0" tIns="0" rIns="0" bIns="0" anchor="t" anchorCtr="0"/>
          <a:lstStyle>
            <a:lvl1pPr algn="ctr">
              <a:lnSpc>
                <a:spcPts val="2941"/>
              </a:lnSpc>
              <a:defRPr sz="2745" spc="-14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550850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291689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F230F-2BBF-4C5F-ADFF-15AED591C2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440A18-20C9-4207-B84B-CC0B1862F6A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222DBF-23FA-4E49-914D-BF117FCB82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15E87-420E-4D9A-ACA8-FA15821DE71B}" type="datetimeFigureOut">
              <a:rPr lang="en-IE" smtClean="0"/>
              <a:t>08/04/2019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C78FF3-FC7F-4730-8675-619C2AAAF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D8E675-5715-4393-8D4F-A70BA18F22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6311E-EBFF-4661-9EAC-D3092400D058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63065899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568D09-F770-42EE-B29C-9B73226166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FD65BF-F652-4125-956A-05AC9900C0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7FCC5-B122-47D2-AAA7-1E6A97C9F2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15E87-420E-4D9A-ACA8-FA15821DE71B}" type="datetimeFigureOut">
              <a:rPr lang="en-IE" smtClean="0"/>
              <a:t>08/04/2019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F40370-5ADC-4710-971E-889DCF4DE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CC6C1E-9D3E-4C86-9CFB-1A3F4890C9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6311E-EBFF-4661-9EAC-D3092400D058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61758474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44A8BB-5CA7-4814-8BD5-1AA96828B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1956C2-EA63-408E-99B0-754A2C435F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8B5628-6763-497A-A30A-E5DD81C1B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15E87-420E-4D9A-ACA8-FA15821DE71B}" type="datetimeFigureOut">
              <a:rPr lang="en-IE" smtClean="0"/>
              <a:t>08/04/2019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499FBA-E932-4CDB-8CE7-059957293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69ECEF-F24E-47D0-A579-F1E3FF79E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6311E-EBFF-4661-9EAC-D3092400D058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46503626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AAA343-8ED6-4A7C-90DF-43D4FCD529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CC597D-147E-4AD9-B5D7-D6E0D001A6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9AACD4D-E923-4D79-9442-BA014799498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141F38-1FE9-47D2-8E30-D099ADAF84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15E87-420E-4D9A-ACA8-FA15821DE71B}" type="datetimeFigureOut">
              <a:rPr lang="en-IE" smtClean="0"/>
              <a:t>08/04/2019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8A6330-6DFF-4024-8D76-EA24CEDDA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C375F3-4319-4DC4-8DC1-71D12437C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6311E-EBFF-4661-9EAC-D3092400D058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77773139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C9883-BB1E-496F-88FE-267AF21FDB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698C1D-3C70-4B6B-9409-C1D9FA26E6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C88768-AAD1-484A-B61D-B6524BA261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BD240C-2713-4223-9CB5-EEF47CC16D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FF05926-0FF8-48BF-A263-50DF68235F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DA96365-D205-4B11-8363-9D3426D96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15E87-420E-4D9A-ACA8-FA15821DE71B}" type="datetimeFigureOut">
              <a:rPr lang="en-IE" smtClean="0"/>
              <a:t>08/04/2019</a:t>
            </a:fld>
            <a:endParaRPr lang="en-I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AE02BB4-F61E-4ACE-9B65-860A24BBE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3CD9FA4-64BA-4C2C-A47D-92027A396E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6311E-EBFF-4661-9EAC-D3092400D058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64942091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FBBCD0-BA5F-4D64-97BE-91897CF9F4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98A5146-A908-4A01-8978-2A2A42037F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15E87-420E-4D9A-ACA8-FA15821DE71B}" type="datetimeFigureOut">
              <a:rPr lang="en-IE" smtClean="0"/>
              <a:t>08/04/2019</a:t>
            </a:fld>
            <a:endParaRPr lang="en-I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B39574-6A52-4612-B84C-196DFFFE0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72CB6D-54DC-49D2-851B-6B16B238D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6311E-EBFF-4661-9EAC-D3092400D058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7315031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EE0CC5A-1100-4C30-B09D-D530AD233B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15E87-420E-4D9A-ACA8-FA15821DE71B}" type="datetimeFigureOut">
              <a:rPr lang="en-IE" smtClean="0"/>
              <a:t>08/04/2019</a:t>
            </a:fld>
            <a:endParaRPr lang="en-I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994CC3-F38F-45AF-A578-8E959CB1B1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B3F0D7-CB66-407D-9E50-DFE9E985E1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6311E-EBFF-4661-9EAC-D3092400D058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94319293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976FB2-A21F-4C1C-8206-79E49358ED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2997FC-33BF-4D79-A23B-863ABC83EE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DB89DA-0486-40CE-8EA4-2F0A29D0BEB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F78860-40EA-41FF-9E0F-3E1A7C194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15E87-420E-4D9A-ACA8-FA15821DE71B}" type="datetimeFigureOut">
              <a:rPr lang="en-IE" smtClean="0"/>
              <a:t>08/04/2019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6C742A-F294-41C4-9D4F-4BC54F5E63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E4CB98-F7EA-4EFE-A6AD-22B9C632D6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6311E-EBFF-4661-9EAC-D3092400D058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1943378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Photo_O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 bwMode="auto">
          <a:xfrm>
            <a:off x="263887" y="4618991"/>
            <a:ext cx="6276593" cy="3583075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34" tIns="143387" rIns="179234" bIns="14338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3751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57354" y="1346512"/>
            <a:ext cx="11531246" cy="1255173"/>
          </a:xfrm>
          <a:noFill/>
        </p:spPr>
        <p:txBody>
          <a:bodyPr lIns="146304" tIns="91440" rIns="146304" bIns="0" anchor="b" anchorCtr="0"/>
          <a:lstStyle>
            <a:lvl1pPr marL="0" algn="l" defTabSz="896042" rtl="0" eaLnBrk="1" latinLnBrk="0" hangingPunct="1">
              <a:defRPr lang="en-US" sz="4902" b="0" kern="1200" spc="-147" dirty="0">
                <a:solidFill>
                  <a:srgbClr val="FFFFFF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3884" y="2831990"/>
            <a:ext cx="11531246" cy="476135"/>
          </a:xfrm>
        </p:spPr>
        <p:txBody>
          <a:bodyPr tIns="0" bIns="109728">
            <a:noAutofit/>
          </a:bodyPr>
          <a:lstStyle>
            <a:lvl1pPr marL="0" indent="0" algn="l" defTabSz="896042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2353" kern="1200" spc="0" baseline="0" dirty="0" smtClean="0">
                <a:solidFill>
                  <a:srgbClr val="FFFFFF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5682390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B1EC5E-CB0B-4EDE-AE8A-3CD7EDB0B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C2EA433-F918-4A54-97F3-41ECE6DAD3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7CCAAB-D0D4-42FB-98C5-4D3D84AC79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6DA0C1-ADA0-42BA-9357-10E387FF85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15E87-420E-4D9A-ACA8-FA15821DE71B}" type="datetimeFigureOut">
              <a:rPr lang="en-IE" smtClean="0"/>
              <a:t>08/04/2019</a:t>
            </a:fld>
            <a:endParaRPr lang="en-I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7381465-6863-45A9-B24A-4D96E3E4A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7CD11B-01C1-4C5E-85E9-B504D5528A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6311E-EBFF-4661-9EAC-D3092400D058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72001578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FB5E6F-78EC-4285-80C5-DFEBDBDF1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A7600E-63CF-476B-9F44-14685FD77C8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5A9602-F477-4088-9611-AC7ECA084C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15E87-420E-4D9A-ACA8-FA15821DE71B}" type="datetimeFigureOut">
              <a:rPr lang="en-IE" smtClean="0"/>
              <a:t>08/04/2019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7D7F72-6528-4CEB-83C6-A56A0F6568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6F3394-7A26-46D1-9123-857320DF0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6311E-EBFF-4661-9EAC-D3092400D058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82608330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5699586-48C8-4186-BAF6-752F1B310F2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B64F988-C09C-46C2-84FD-7B3775049F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D6B995-1C09-458A-BD8A-72EBF9E768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15E87-420E-4D9A-ACA8-FA15821DE71B}" type="datetimeFigureOut">
              <a:rPr lang="en-IE" smtClean="0"/>
              <a:t>08/04/2019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7DA3D6-5DD4-4A14-BF87-1ADD4C1A0B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0FAB86-6528-499A-82A6-EFBD37B60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C6311E-EBFF-4661-9EAC-D3092400D058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60734151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9545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9545" y="4826339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8" spc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77D9F43C-9ED7-406B-964E-3332E7F361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29591" y="438484"/>
            <a:ext cx="1046546" cy="22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134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5C2034CC-1A7F-4324-BC45-4A556F1BC5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29545" y="438438"/>
            <a:ext cx="1048727" cy="22463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5EF8822D-F745-4E56-A540-A9547E7BCE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545" y="3029995"/>
            <a:ext cx="9401560" cy="1793104"/>
          </a:xfrm>
          <a:noFill/>
        </p:spPr>
        <p:txBody>
          <a:bodyPr lIns="0" tIns="0" rIns="0" bIns="182880" anchor="b" anchorCtr="0"/>
          <a:lstStyle>
            <a:lvl1pPr>
              <a:defRPr sz="5294" strike="noStrike" spc="-147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Microsoft 365</a:t>
            </a:r>
            <a:br>
              <a:rPr lang="en-US"/>
            </a:br>
            <a:r>
              <a:rPr lang="en-US"/>
              <a:t>title or event nam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A25CC0D-FC54-4BD7-82BD-929FB99709C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9545" y="4826339"/>
            <a:ext cx="9401560" cy="945435"/>
          </a:xfrm>
          <a:noFill/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68" spc="0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US"/>
              <a:t>Author name</a:t>
            </a:r>
          </a:p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092795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357" y="1183795"/>
            <a:ext cx="3628455" cy="1174324"/>
          </a:xfrm>
        </p:spPr>
        <p:txBody>
          <a:bodyPr lIns="0" tIns="0" rIns="0" bIns="0"/>
          <a:lstStyle>
            <a:lvl1pPr>
              <a:lnSpc>
                <a:spcPct val="100000"/>
              </a:lnSpc>
              <a:defRPr sz="1961" spc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12722" y="1183794"/>
            <a:ext cx="3618382" cy="3312974"/>
          </a:xfrm>
        </p:spPr>
        <p:txBody>
          <a:bodyPr wrap="square" lIns="0" tIns="0" rIns="0" bIns="0">
            <a:noAutofit/>
          </a:bodyPr>
          <a:lstStyle>
            <a:lvl1pPr marL="0" marR="0" indent="0" algn="l" defTabSz="507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8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961" spc="0" baseline="0">
                <a:solidFill>
                  <a:schemeClr val="accent1"/>
                </a:solidFill>
                <a:latin typeface="+mj-lt"/>
              </a:defRPr>
            </a:lvl1pPr>
            <a:lvl2pPr marL="224097" indent="0">
              <a:buNone/>
              <a:defRPr sz="1765"/>
            </a:lvl2pPr>
            <a:lvl3pPr marL="448193" indent="0">
              <a:buNone/>
              <a:defRPr sz="1765"/>
            </a:lvl3pPr>
            <a:lvl4pPr marL="672290" indent="0">
              <a:buNone/>
              <a:defRPr sz="1765"/>
            </a:lvl4pPr>
            <a:lvl5pPr marL="896386" indent="0">
              <a:buNone/>
              <a:defRPr sz="1765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25586457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9383" y="2124908"/>
            <a:ext cx="11333080" cy="1498787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1961"/>
              </a:spcBef>
              <a:spcAft>
                <a:spcPts val="0"/>
              </a:spcAft>
              <a:buNone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indent="0">
              <a:lnSpc>
                <a:spcPct val="100000"/>
              </a:lnSpc>
              <a:spcBef>
                <a:spcPts val="1961"/>
              </a:spcBef>
              <a:spcAft>
                <a:spcPts val="0"/>
              </a:spcAft>
              <a:buNone/>
              <a:defRPr sz="1961">
                <a:solidFill>
                  <a:srgbClr val="000000"/>
                </a:solidFill>
              </a:defRPr>
            </a:lvl2pPr>
            <a:lvl3pPr marL="448193" indent="0">
              <a:lnSpc>
                <a:spcPct val="100000"/>
              </a:lnSpc>
              <a:spcBef>
                <a:spcPts val="1961"/>
              </a:spcBef>
              <a:spcAft>
                <a:spcPts val="0"/>
              </a:spcAft>
              <a:buNone/>
              <a:defRPr sz="1961">
                <a:solidFill>
                  <a:srgbClr val="000000"/>
                </a:solidFill>
              </a:defRPr>
            </a:lvl3pPr>
            <a:lvl4pPr marL="672290" indent="0">
              <a:spcBef>
                <a:spcPts val="0"/>
              </a:spcBef>
              <a:spcAft>
                <a:spcPts val="1274"/>
              </a:spcAft>
              <a:buNone/>
              <a:defRPr sz="1961"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First level Segoe UI 26</a:t>
            </a:r>
          </a:p>
          <a:p>
            <a:pPr lvl="1"/>
            <a:r>
              <a:rPr lang="en-US"/>
              <a:t>Second level Segoe UI 20</a:t>
            </a:r>
          </a:p>
          <a:p>
            <a:pPr lvl="2"/>
            <a:r>
              <a:rPr lang="en-US"/>
              <a:t>Third level Segoe UI 20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383" y="437538"/>
            <a:ext cx="11333080" cy="742300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</a:t>
            </a:r>
          </a:p>
        </p:txBody>
      </p:sp>
    </p:spTree>
    <p:extLst>
      <p:ext uri="{BB962C8B-B14F-4D97-AF65-F5344CB8AC3E}">
        <p14:creationId xmlns:p14="http://schemas.microsoft.com/office/powerpoint/2010/main" val="3870250752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3F3274D-8F90-4F75-B990-F6B7A291DE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383" y="437538"/>
            <a:ext cx="11333080" cy="742300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464088525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C5975B6C-5AF6-4D39-B2D2-F291C38E93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09609" y="0"/>
            <a:ext cx="5982391" cy="6857998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9383" y="2122072"/>
            <a:ext cx="5553007" cy="2374698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1961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6</a:t>
            </a:r>
          </a:p>
          <a:p>
            <a:pPr lvl="0"/>
            <a:r>
              <a:rPr lang="pt-BR"/>
              <a:t>Subhead Segoe UI 26</a:t>
            </a:r>
          </a:p>
          <a:p>
            <a:pPr lvl="0"/>
            <a:r>
              <a:rPr lang="pt-BR"/>
              <a:t>Subhead Segoe UI 26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E187AA-EF04-4AB1-BC58-089B2A33C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383" y="438785"/>
            <a:ext cx="5553007" cy="74105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</p:spTree>
    <p:extLst>
      <p:ext uri="{BB962C8B-B14F-4D97-AF65-F5344CB8AC3E}">
        <p14:creationId xmlns:p14="http://schemas.microsoft.com/office/powerpoint/2010/main" val="29619980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line Image Placeholder 2">
            <a:extLst>
              <a:ext uri="{FF2B5EF4-FFF2-40B4-BE49-F238E27FC236}">
                <a16:creationId xmlns:a16="http://schemas.microsoft.com/office/drawing/2014/main" id="{562D5679-B66F-A244-9E94-0FFE5F1B6168}"/>
              </a:ext>
            </a:extLst>
          </p:cNvPr>
          <p:cNvSpPr>
            <a:spLocks noGrp="1"/>
          </p:cNvSpPr>
          <p:nvPr>
            <p:ph type="clipArt" sz="quarter" idx="11" hasCustomPrompt="1"/>
          </p:nvPr>
        </p:nvSpPr>
        <p:spPr>
          <a:xfrm>
            <a:off x="6213692" y="2126903"/>
            <a:ext cx="5545571" cy="3775398"/>
          </a:xfrm>
        </p:spPr>
        <p:txBody>
          <a:bodyPr anchor="ctr">
            <a:noAutofit/>
          </a:bodyPr>
          <a:lstStyle>
            <a:lvl1pPr algn="ctr">
              <a:defRPr sz="1961">
                <a:latin typeface="+mj-lt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2738" y="2126903"/>
            <a:ext cx="5228893" cy="2592447"/>
          </a:xfrm>
        </p:spPr>
        <p:txBody>
          <a:bodyPr wrap="square" lIns="0" tIns="0" rIns="0" bIns="0">
            <a:no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ts val="1961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97" marR="0" indent="0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pt-BR"/>
              <a:t>Subhead Segoe UI 26</a:t>
            </a:r>
          </a:p>
          <a:p>
            <a:pPr lvl="0"/>
            <a:r>
              <a:rPr lang="pt-BR"/>
              <a:t>Subhead Segoe UI 26</a:t>
            </a:r>
          </a:p>
          <a:p>
            <a:pPr lvl="0"/>
            <a:r>
              <a:rPr lang="pt-BR"/>
              <a:t>Subhead Segoe UI 26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B11769B-2C5C-4432-BC0E-481D5EFABA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evice layout</a:t>
            </a:r>
          </a:p>
        </p:txBody>
      </p:sp>
    </p:spTree>
    <p:extLst>
      <p:ext uri="{BB962C8B-B14F-4D97-AF65-F5344CB8AC3E}">
        <p14:creationId xmlns:p14="http://schemas.microsoft.com/office/powerpoint/2010/main" val="374479017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99665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3920" b="0" i="0" u="none" kern="1200" spc="-147" baseline="0" dirty="0">
                <a:solidFill>
                  <a:schemeClr val="accent5">
                    <a:lumMod val="50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36A7A7-394D-45F2-87F1-511ADFEC66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F0A7C2-12B9-4AF8-A7F5-DFD4E93065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622388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9"/>
            <a:ext cx="11655840" cy="899665"/>
          </a:xfrm>
        </p:spPr>
        <p:txBody>
          <a:bodyPr/>
          <a:lstStyle>
            <a:lvl1pPr marL="0" algn="l" defTabSz="895874" rtl="0" eaLnBrk="1" latinLnBrk="0" hangingPunct="1">
              <a:spcBef>
                <a:spcPct val="0"/>
              </a:spcBef>
              <a:buNone/>
              <a:defRPr lang="en-US" sz="3919" b="0" i="0" u="none" kern="1200" spc="-147" baseline="0" dirty="0">
                <a:solidFill>
                  <a:schemeClr val="accent5">
                    <a:lumMod val="50000"/>
                  </a:schemeClr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idx="1"/>
          </p:nvPr>
        </p:nvSpPr>
        <p:spPr>
          <a:xfrm>
            <a:off x="269243" y="1189178"/>
            <a:ext cx="11653521" cy="1691682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indent="0">
              <a:lnSpc>
                <a:spcPct val="100000"/>
              </a:lnSpc>
              <a:buNone/>
              <a:defRPr sz="2353">
                <a:latin typeface="+mn-lt"/>
              </a:defRPr>
            </a:lvl1pPr>
            <a:lvl2pPr marL="336016" indent="0">
              <a:lnSpc>
                <a:spcPct val="100000"/>
              </a:lnSpc>
              <a:buNone/>
              <a:defRPr sz="1800">
                <a:latin typeface="+mn-lt"/>
              </a:defRPr>
            </a:lvl2pPr>
            <a:lvl3pPr marL="560026" indent="0">
              <a:lnSpc>
                <a:spcPct val="100000"/>
              </a:lnSpc>
              <a:buNone/>
              <a:defRPr sz="1600">
                <a:latin typeface="+mn-lt"/>
              </a:defRPr>
            </a:lvl3pPr>
            <a:lvl4pPr marL="784036" indent="0">
              <a:lnSpc>
                <a:spcPct val="100000"/>
              </a:lnSpc>
              <a:buNone/>
              <a:defRPr sz="1400">
                <a:latin typeface="+mn-lt"/>
              </a:defRPr>
            </a:lvl4pPr>
            <a:lvl5pPr marL="1008046" indent="0">
              <a:lnSpc>
                <a:spcPct val="100000"/>
              </a:lnSpc>
              <a:buNone/>
              <a:defRPr sz="14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0942681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layout: three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897219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7" name="Content Placeholder 15"/>
          <p:cNvSpPr>
            <a:spLocks noGrp="1"/>
          </p:cNvSpPr>
          <p:nvPr userDrawn="1">
            <p:ph sz="quarter" idx="18" hasCustomPrompt="1"/>
          </p:nvPr>
        </p:nvSpPr>
        <p:spPr>
          <a:xfrm>
            <a:off x="4746694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5"/>
          <p:cNvSpPr>
            <a:spLocks noGrp="1"/>
          </p:cNvSpPr>
          <p:nvPr userDrawn="1">
            <p:ph sz="quarter" idx="19" hasCustomPrompt="1"/>
          </p:nvPr>
        </p:nvSpPr>
        <p:spPr>
          <a:xfrm>
            <a:off x="8598490" y="1958468"/>
            <a:ext cx="2698612" cy="2411476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C74E6E5-9DAD-4A14-9C20-D9F9150874FE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26424" y="440497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Graphic layout: three columns graphic an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B052D15-67DF-4845-863F-FEC853640A9E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426426" y="4927922"/>
            <a:ext cx="3627659" cy="140825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None/>
              <a:defRPr sz="1568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5ECD4C7-D870-4003-9FA8-85EBBED87940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81363" y="4927922"/>
            <a:ext cx="3623051" cy="140825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A9BECBA-B2CC-4EE6-B54E-9ADB03EB2595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8126964" y="4927922"/>
            <a:ext cx="3635502" cy="140825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89765252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layout: four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9594C393-E06E-3A4C-A658-2526A14DA5A1}"/>
              </a:ext>
            </a:extLst>
          </p:cNvPr>
          <p:cNvSpPr/>
          <p:nvPr userDrawn="1"/>
        </p:nvSpPr>
        <p:spPr bwMode="auto">
          <a:xfrm>
            <a:off x="9109046" y="1590387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011C51E-94BA-C44D-ABF4-E87C4124DAF0}"/>
              </a:ext>
            </a:extLst>
          </p:cNvPr>
          <p:cNvSpPr/>
          <p:nvPr userDrawn="1"/>
        </p:nvSpPr>
        <p:spPr bwMode="auto">
          <a:xfrm>
            <a:off x="6214841" y="1590387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6DDB665-2DD7-AE40-9862-C6E8E22E9215}"/>
              </a:ext>
            </a:extLst>
          </p:cNvPr>
          <p:cNvSpPr/>
          <p:nvPr userDrawn="1"/>
        </p:nvSpPr>
        <p:spPr bwMode="auto">
          <a:xfrm>
            <a:off x="3320634" y="1590387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CD677DE-AA2C-984C-BAE1-54D5F0B518CE}"/>
              </a:ext>
            </a:extLst>
          </p:cNvPr>
          <p:cNvSpPr/>
          <p:nvPr userDrawn="1"/>
        </p:nvSpPr>
        <p:spPr bwMode="auto">
          <a:xfrm>
            <a:off x="426426" y="1590387"/>
            <a:ext cx="2653417" cy="312896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>
            <a:outerShdw blurRad="76200" algn="ctr" rotWithShape="0">
              <a:schemeClr val="bg2">
                <a:lumMod val="50000"/>
                <a:alpha val="8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10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53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47712A-15EB-884C-BF95-7C690BA77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463" y="439865"/>
            <a:ext cx="11332001" cy="73997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Graphic layout: four columns graphic and text</a:t>
            </a:r>
          </a:p>
        </p:txBody>
      </p:sp>
      <p:sp>
        <p:nvSpPr>
          <p:cNvPr id="4" name="Content Placeholder 15">
            <a:extLst>
              <a:ext uri="{FF2B5EF4-FFF2-40B4-BE49-F238E27FC236}">
                <a16:creationId xmlns:a16="http://schemas.microsoft.com/office/drawing/2014/main" id="{F580A529-D3A8-5643-80BA-3E2BE1AA8D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966751" y="2135537"/>
            <a:ext cx="1572767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" name="Content Placeholder 15">
            <a:extLst>
              <a:ext uri="{FF2B5EF4-FFF2-40B4-BE49-F238E27FC236}">
                <a16:creationId xmlns:a16="http://schemas.microsoft.com/office/drawing/2014/main" id="{1F6D7A4B-5FFE-2741-8477-E0CAA019B07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849259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07CF99F6-2487-AC48-8A09-B34B72BD5FE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6" y="4927922"/>
            <a:ext cx="2653417" cy="140825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None/>
              <a:defRPr sz="1568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F7B5F75-90C0-F44E-9322-8FF1108BD3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20634" y="4927922"/>
            <a:ext cx="2653417" cy="140825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E444E9C-8096-FE42-BE2A-094180C611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14841" y="4927922"/>
            <a:ext cx="2653417" cy="140825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30602BFF-4B8C-D046-AD65-47970BC89DF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743466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88A8CB35-A244-544E-8BAE-53CB85074FB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637672" y="2135537"/>
            <a:ext cx="1596164" cy="2038660"/>
          </a:xfrm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D8D35D15-66F4-4840-BA72-4B7AB5A24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09046" y="4927922"/>
            <a:ext cx="2653417" cy="140825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1568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quam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62595425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30930" y="2126525"/>
            <a:ext cx="11331534" cy="4288197"/>
          </a:xfrm>
        </p:spPr>
        <p:txBody>
          <a:bodyPr bIns="1737360" anchor="ctr">
            <a:noAutofit/>
          </a:bodyPr>
          <a:lstStyle>
            <a:lvl1pPr algn="ctr">
              <a:defRPr sz="1961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4F997AC3-87B6-4E0B-88C2-A05069E413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930" y="440497"/>
            <a:ext cx="11331534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able layout</a:t>
            </a:r>
          </a:p>
        </p:txBody>
      </p:sp>
    </p:spTree>
    <p:extLst>
      <p:ext uri="{BB962C8B-B14F-4D97-AF65-F5344CB8AC3E}">
        <p14:creationId xmlns:p14="http://schemas.microsoft.com/office/powerpoint/2010/main" val="1491702517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itle 35"/>
          <p:cNvSpPr>
            <a:spLocks noGrp="1"/>
          </p:cNvSpPr>
          <p:nvPr>
            <p:ph type="title" hasCustomPrompt="1"/>
          </p:nvPr>
        </p:nvSpPr>
        <p:spPr>
          <a:xfrm>
            <a:off x="429771" y="1184321"/>
            <a:ext cx="7474643" cy="3535032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rgbClr val="000000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87882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5">
            <a:extLst>
              <a:ext uri="{FF2B5EF4-FFF2-40B4-BE49-F238E27FC236}">
                <a16:creationId xmlns:a16="http://schemas.microsoft.com/office/drawing/2014/main" id="{1CB8D96F-CB58-48EC-B5B5-5C28F11ADE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771" y="1184321"/>
            <a:ext cx="7474643" cy="289285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lnSpc>
                <a:spcPct val="90000"/>
              </a:lnSpc>
              <a:defRPr lang="en-US" sz="5294" spc="-147" dirty="0">
                <a:solidFill>
                  <a:srgbClr val="FFFFFF"/>
                </a:solidFill>
              </a:defRPr>
            </a:lvl1pPr>
          </a:lstStyle>
          <a:p>
            <a:pPr marL="0" lvl="0">
              <a:lnSpc>
                <a:spcPts val="5490"/>
              </a:lnSpc>
            </a:pPr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51545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1132416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07DE85-B70F-4309-8506-6C011BC20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545" y="2125362"/>
            <a:ext cx="7474057" cy="1415708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147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F3523A4C-09FD-49AC-AA6D-1A6E7B7893EE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rgbClr val="000000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MS logo gray - EMF" descr="Microsoft logo, gray text version">
            <a:extLst>
              <a:ext uri="{FF2B5EF4-FFF2-40B4-BE49-F238E27FC236}">
                <a16:creationId xmlns:a16="http://schemas.microsoft.com/office/drawing/2014/main" id="{A4AB0AD6-BEE0-4A9B-AE1F-9D266058E3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29591" y="438484"/>
            <a:ext cx="1046546" cy="22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1286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lue">
    <p:bg>
      <p:bgPr>
        <a:solidFill>
          <a:srgbClr val="02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29545" y="2124920"/>
            <a:ext cx="7474869" cy="1416149"/>
          </a:xfrm>
          <a:noFill/>
        </p:spPr>
        <p:txBody>
          <a:bodyPr lIns="0" tIns="0" rIns="0" bIns="0" anchor="t" anchorCtr="0"/>
          <a:lstStyle>
            <a:lvl1pPr>
              <a:lnSpc>
                <a:spcPct val="100000"/>
              </a:lnSpc>
              <a:spcAft>
                <a:spcPts val="1274"/>
              </a:spcAft>
              <a:defRPr sz="2549" spc="-147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  <p:sp>
        <p:nvSpPr>
          <p:cNvPr id="4" name="Text Box 3">
            <a:extLst>
              <a:ext uri="{FF2B5EF4-FFF2-40B4-BE49-F238E27FC236}">
                <a16:creationId xmlns:a16="http://schemas.microsoft.com/office/drawing/2014/main" id="{1688BD8D-D2E4-4DFC-B39C-D55D84362354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428494" y="6318462"/>
            <a:ext cx="4482124" cy="10561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solidFill>
                  <a:schemeClr val="bg2"/>
                </a:soli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0FE60BB2-3884-42A4-ADFD-61164DA7FC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29545" y="438438"/>
            <a:ext cx="1048727" cy="224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8584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57" y="1558"/>
          <a:ext cx="1556" cy="15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57" y="1558"/>
                        <a:ext cx="1556" cy="15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8811844-77C4-4399-8DF6-5D218FE902C8}"/>
              </a:ext>
            </a:extLst>
          </p:cNvPr>
          <p:cNvSpPr txBox="1"/>
          <p:nvPr userDrawn="1"/>
        </p:nvSpPr>
        <p:spPr>
          <a:xfrm>
            <a:off x="4572586" y="6683219"/>
            <a:ext cx="2085507" cy="8874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334"/>
              </a:spcAft>
            </a:pPr>
            <a:r>
              <a:rPr lang="en-US" sz="641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</a:t>
            </a:r>
            <a:r>
              <a:rPr lang="en-US" sz="641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FIDENTIAL / </a:t>
            </a:r>
            <a:r>
              <a:rPr lang="en-US" sz="641" b="1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OR INTERNAL USE</a:t>
            </a:r>
            <a:r>
              <a:rPr lang="en-US" sz="641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ONLY</a:t>
            </a:r>
            <a:endParaRPr lang="en-US" sz="641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25776857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09CE98F-3E4D-4CEC-9698-5AE541E73215}"/>
              </a:ext>
            </a:extLst>
          </p:cNvPr>
          <p:cNvSpPr txBox="1">
            <a:spLocks/>
          </p:cNvSpPr>
          <p:nvPr userDrawn="1"/>
        </p:nvSpPr>
        <p:spPr>
          <a:xfrm>
            <a:off x="237506" y="6484883"/>
            <a:ext cx="1326078" cy="3734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GB" sz="1600" dirty="0">
                <a:solidFill>
                  <a:srgbClr val="3AC900"/>
                </a:solidFill>
                <a:latin typeface="Myriad Pro"/>
              </a:rPr>
              <a:t>www.mwh.ie</a:t>
            </a:r>
          </a:p>
        </p:txBody>
      </p: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759CA74F-E3D0-4028-8EA2-E51F64D829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06" y="309274"/>
            <a:ext cx="4428360" cy="152335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C230358-F001-47A6-893D-314A9890CF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2670968"/>
            <a:ext cx="2815929" cy="2815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500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9"/>
            <a:ext cx="11655840" cy="899665"/>
          </a:xfrm>
        </p:spPr>
        <p:txBody>
          <a:bodyPr/>
          <a:lstStyle>
            <a:lvl1pPr marL="0" algn="l" defTabSz="895874" rtl="0" eaLnBrk="1" latinLnBrk="0" hangingPunct="1">
              <a:spcBef>
                <a:spcPct val="0"/>
              </a:spcBef>
              <a:buNone/>
              <a:defRPr lang="en-US" sz="4311" b="0" i="0" u="none" kern="1200" spc="-147" baseline="0" dirty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5150454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ACD78D0F-6EBE-4499-8FB2-4FA0D6655F1D}"/>
              </a:ext>
            </a:extLst>
          </p:cNvPr>
          <p:cNvSpPr txBox="1">
            <a:spLocks/>
          </p:cNvSpPr>
          <p:nvPr userDrawn="1"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>
              <a:latin typeface="Myriad Pro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B8C3D6B-C4C0-467A-9688-5CC0C6ECFBD6}"/>
              </a:ext>
            </a:extLst>
          </p:cNvPr>
          <p:cNvSpPr txBox="1">
            <a:spLocks/>
          </p:cNvSpPr>
          <p:nvPr userDrawn="1"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>
              <a:latin typeface="Myriad Pro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516EE66-423C-4977-8797-331992CDD4B2}"/>
              </a:ext>
            </a:extLst>
          </p:cNvPr>
          <p:cNvSpPr txBox="1">
            <a:spLocks/>
          </p:cNvSpPr>
          <p:nvPr userDrawn="1"/>
        </p:nvSpPr>
        <p:spPr>
          <a:xfrm>
            <a:off x="1330035" y="6188804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dirty="0">
              <a:latin typeface="Myriad Pro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782CD69-79DB-4D21-A4EF-9D82BC4B873F}"/>
              </a:ext>
            </a:extLst>
          </p:cNvPr>
          <p:cNvSpPr txBox="1">
            <a:spLocks/>
          </p:cNvSpPr>
          <p:nvPr userDrawn="1"/>
        </p:nvSpPr>
        <p:spPr>
          <a:xfrm>
            <a:off x="-1472870" y="6484883"/>
            <a:ext cx="3036454" cy="3734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GB" sz="1600" dirty="0">
                <a:solidFill>
                  <a:srgbClr val="3AC900"/>
                </a:solidFill>
                <a:latin typeface="Myriad Pro"/>
              </a:rPr>
              <a:t>www.mwh.ie</a:t>
            </a:r>
          </a:p>
        </p:txBody>
      </p:sp>
      <p:pic>
        <p:nvPicPr>
          <p:cNvPr id="5" name="Picture 4" descr="A picture containing clock&#10;&#10;Description automatically generated">
            <a:extLst>
              <a:ext uri="{FF2B5EF4-FFF2-40B4-BE49-F238E27FC236}">
                <a16:creationId xmlns:a16="http://schemas.microsoft.com/office/drawing/2014/main" id="{8991DB84-9E71-40A2-B8CA-CD15C42743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24410" y="6425939"/>
            <a:ext cx="491342" cy="49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28572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clock&#10;&#10;Description automatically generated">
            <a:extLst>
              <a:ext uri="{FF2B5EF4-FFF2-40B4-BE49-F238E27FC236}">
                <a16:creationId xmlns:a16="http://schemas.microsoft.com/office/drawing/2014/main" id="{BB9AA521-4130-44AD-BDBA-12696A7BB5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00658" y="6366658"/>
            <a:ext cx="491342" cy="491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302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Sub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9"/>
            <a:ext cx="11655840" cy="806897"/>
          </a:xfrm>
        </p:spPr>
        <p:txBody>
          <a:bodyPr/>
          <a:lstStyle>
            <a:lvl1pPr marL="0" algn="l" defTabSz="895874" rtl="0" eaLnBrk="1" latinLnBrk="0" hangingPunct="1">
              <a:spcBef>
                <a:spcPct val="0"/>
              </a:spcBef>
              <a:buNone/>
              <a:defRPr lang="en-US" sz="3919" b="0" i="0" u="none" kern="1200" spc="-147" baseline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774911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Subtitle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9"/>
            <a:ext cx="11655840" cy="806897"/>
          </a:xfrm>
        </p:spPr>
        <p:txBody>
          <a:bodyPr/>
          <a:lstStyle>
            <a:lvl1pPr marL="0" algn="l" defTabSz="895874" rtl="0" eaLnBrk="1" latinLnBrk="0" hangingPunct="1">
              <a:spcBef>
                <a:spcPct val="0"/>
              </a:spcBef>
              <a:buNone/>
              <a:defRPr lang="en-US" sz="4311" b="0" i="0" u="none" kern="1200" spc="-147" baseline="0" dirty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69242" y="1186958"/>
            <a:ext cx="11655078" cy="669799"/>
          </a:xfrm>
        </p:spPr>
        <p:txBody>
          <a:bodyPr tIns="0" bIns="0"/>
          <a:lstStyle>
            <a:lvl1pPr marL="0" indent="0">
              <a:buNone/>
              <a:defRPr lang="en-US" sz="1961" kern="1200" spc="-29" baseline="0" dirty="0">
                <a:solidFill>
                  <a:srgbClr val="ED6722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marL="0" lvl="0" algn="l" defTabSz="896042" rtl="0" eaLnBrk="1" latinLnBrk="0" hangingPunct="1"/>
            <a:r>
              <a:rPr lang="en-US"/>
              <a:t>Edit Master text styles</a:t>
            </a:r>
          </a:p>
          <a:p>
            <a:pPr marL="0" lvl="1" algn="l" defTabSz="896042" rtl="0" eaLnBrk="1" latinLnBrk="0" hangingPunct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71029539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727571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36407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021258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6223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2" y="6170061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34" tIns="143387" rIns="179234" bIns="143387" numCol="1" anchor="t" anchorCtr="0" compatLnSpc="1">
            <a:prstTxWarp prst="textNoShape">
              <a:avLst/>
            </a:prstTxWarp>
            <a:spAutoFit/>
          </a:bodyPr>
          <a:lstStyle/>
          <a:p>
            <a:pPr defTabSz="913573" eaLnBrk="0" hangingPunct="0"/>
            <a:r>
              <a:rPr lang="en-US" sz="686">
                <a:gradFill>
                  <a:gsLst>
                    <a:gs pos="0">
                      <a:srgbClr val="2C292A"/>
                    </a:gs>
                    <a:gs pos="100000">
                      <a:srgbClr val="2C292A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257929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11195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5534540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99665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4312" b="0" i="0" u="none" kern="1200" spc="-147" baseline="0" dirty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3D78BE-8798-4901-A09C-F1023DF01F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F0A7C2-12B9-4AF8-A7F5-DFD4E93065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54080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7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56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 dirty="0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8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 sz="180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83420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9756478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43646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698209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72000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023532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141599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79374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82326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209765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06897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3920" b="0" i="0" u="none" kern="1200" spc="-147" baseline="0" dirty="0">
                <a:solidFill>
                  <a:schemeClr val="tx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A43B4E-1285-47A4-8FE7-DF9772CD7FF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F0A7C2-12B9-4AF8-A7F5-DFD4E93065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040827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600981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229826910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681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44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6792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368551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35332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442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10429749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13902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Subtitl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240" y="294378"/>
            <a:ext cx="11655840" cy="806897"/>
          </a:xfrm>
        </p:spPr>
        <p:txBody>
          <a:bodyPr/>
          <a:lstStyle>
            <a:lvl1pPr marL="0" algn="l" defTabSz="896046" rtl="0" eaLnBrk="1" latinLnBrk="0" hangingPunct="1">
              <a:spcBef>
                <a:spcPct val="0"/>
              </a:spcBef>
              <a:buNone/>
              <a:defRPr lang="en-US" sz="4312" b="0" i="0" u="none" kern="1200" spc="-147" baseline="0" dirty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69241" y="1186958"/>
            <a:ext cx="11655078" cy="669799"/>
          </a:xfrm>
        </p:spPr>
        <p:txBody>
          <a:bodyPr tIns="0" bIns="0"/>
          <a:lstStyle>
            <a:lvl1pPr marL="0" indent="0">
              <a:buNone/>
              <a:defRPr lang="en-US" sz="1961" kern="1200" spc="-29" baseline="0" dirty="0">
                <a:solidFill>
                  <a:srgbClr val="ED6722"/>
                </a:solidFill>
                <a:latin typeface="+mn-lt"/>
                <a:ea typeface="+mn-ea"/>
                <a:cs typeface="Bodoni Std Bold Italic"/>
              </a:defRPr>
            </a:lvl1pPr>
          </a:lstStyle>
          <a:p>
            <a:pPr marL="0" lvl="0" algn="l" defTabSz="896214" rtl="0" eaLnBrk="1" latinLnBrk="0" hangingPunct="1"/>
            <a:r>
              <a:rPr lang="en-US"/>
              <a:t>Edit Master text styles</a:t>
            </a:r>
          </a:p>
          <a:p>
            <a:pPr marL="0" lvl="1" algn="l" defTabSz="896214" rtl="0" eaLnBrk="1" latinLnBrk="0" hangingPunct="1"/>
            <a:r>
              <a:rPr lang="en-US"/>
              <a:t>Second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02B6D2-961A-4C42-B9D7-F31D3C6FB2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F0A7C2-12B9-4AF8-A7F5-DFD4E93065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666603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E091E3-2C2A-4AB3-B51D-588316BBD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515FF4-654B-44F1-8E99-8C0A39FA1F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F48ABD-9E35-4A55-A97D-8C5D0CCC8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76F61-9256-4462-923F-18C6669F4E3D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F3C84B-BCFF-4B22-94CC-F2ADC89A9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88BBE5-6DD0-464D-BA3E-1347C8F895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276E9F-560D-46BA-A360-65CCF2F886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941384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228601" y="902172"/>
            <a:ext cx="11734800" cy="22632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79579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2DABEB-89A7-47A0-B89E-09858AA939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72D180-BB68-4C91-801E-029270ED23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A93466-21F2-4A4E-A691-1FDE8AE67D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8FB47-CC7B-475F-88E9-8E5B9DBFAE85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66996D-3364-42C1-B757-11D711CD03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94F175-E0DF-449E-8108-0E85FAB95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3F266-9E59-475A-989C-B00974361A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8452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indows 10"/>
          <p:cNvSpPr>
            <a:spLocks noChangeAspect="1" noEditPoints="1"/>
          </p:cNvSpPr>
          <p:nvPr userDrawn="1"/>
        </p:nvSpPr>
        <p:spPr bwMode="auto">
          <a:xfrm>
            <a:off x="448586" y="739373"/>
            <a:ext cx="2878507" cy="537931"/>
          </a:xfrm>
          <a:custGeom>
            <a:avLst/>
            <a:gdLst>
              <a:gd name="T0" fmla="*/ 295 w 3590"/>
              <a:gd name="T1" fmla="*/ 329 h 668"/>
              <a:gd name="T2" fmla="*/ 0 w 3590"/>
              <a:gd name="T3" fmla="*/ 94 h 668"/>
              <a:gd name="T4" fmla="*/ 295 w 3590"/>
              <a:gd name="T5" fmla="*/ 616 h 668"/>
              <a:gd name="T6" fmla="*/ 284 w 3590"/>
              <a:gd name="T7" fmla="*/ 340 h 668"/>
              <a:gd name="T8" fmla="*/ 284 w 3590"/>
              <a:gd name="T9" fmla="*/ 340 h 668"/>
              <a:gd name="T10" fmla="*/ 3196 w 3590"/>
              <a:gd name="T11" fmla="*/ 160 h 668"/>
              <a:gd name="T12" fmla="*/ 3158 w 3590"/>
              <a:gd name="T13" fmla="*/ 224 h 668"/>
              <a:gd name="T14" fmla="*/ 3223 w 3590"/>
              <a:gd name="T15" fmla="*/ 531 h 668"/>
              <a:gd name="T16" fmla="*/ 3407 w 3590"/>
              <a:gd name="T17" fmla="*/ 139 h 668"/>
              <a:gd name="T18" fmla="*/ 3339 w 3590"/>
              <a:gd name="T19" fmla="*/ 424 h 668"/>
              <a:gd name="T20" fmla="*/ 3513 w 3590"/>
              <a:gd name="T21" fmla="*/ 524 h 668"/>
              <a:gd name="T22" fmla="*/ 3465 w 3590"/>
              <a:gd name="T23" fmla="*/ 125 h 668"/>
              <a:gd name="T24" fmla="*/ 3544 w 3590"/>
              <a:gd name="T25" fmla="*/ 334 h 668"/>
              <a:gd name="T26" fmla="*/ 1215 w 3590"/>
              <a:gd name="T27" fmla="*/ 532 h 668"/>
              <a:gd name="T28" fmla="*/ 1118 w 3590"/>
              <a:gd name="T29" fmla="*/ 240 h 668"/>
              <a:gd name="T30" fmla="*/ 916 w 3590"/>
              <a:gd name="T31" fmla="*/ 133 h 668"/>
              <a:gd name="T32" fmla="*/ 1017 w 3590"/>
              <a:gd name="T33" fmla="*/ 439 h 668"/>
              <a:gd name="T34" fmla="*/ 1242 w 3590"/>
              <a:gd name="T35" fmla="*/ 478 h 668"/>
              <a:gd name="T36" fmla="*/ 1382 w 3590"/>
              <a:gd name="T37" fmla="*/ 133 h 668"/>
              <a:gd name="T38" fmla="*/ 1424 w 3590"/>
              <a:gd name="T39" fmla="*/ 175 h 668"/>
              <a:gd name="T40" fmla="*/ 1467 w 3590"/>
              <a:gd name="T41" fmla="*/ 132 h 668"/>
              <a:gd name="T42" fmla="*/ 1422 w 3590"/>
              <a:gd name="T43" fmla="*/ 247 h 668"/>
              <a:gd name="T44" fmla="*/ 1726 w 3590"/>
              <a:gd name="T45" fmla="*/ 532 h 668"/>
              <a:gd name="T46" fmla="*/ 1581 w 3590"/>
              <a:gd name="T47" fmla="*/ 369 h 668"/>
              <a:gd name="T48" fmla="*/ 1581 w 3590"/>
              <a:gd name="T49" fmla="*/ 247 h 668"/>
              <a:gd name="T50" fmla="*/ 1747 w 3590"/>
              <a:gd name="T51" fmla="*/ 271 h 668"/>
              <a:gd name="T52" fmla="*/ 2041 w 3590"/>
              <a:gd name="T53" fmla="*/ 532 h 668"/>
              <a:gd name="T54" fmla="*/ 1856 w 3590"/>
              <a:gd name="T55" fmla="*/ 500 h 668"/>
              <a:gd name="T56" fmla="*/ 2040 w 3590"/>
              <a:gd name="T57" fmla="*/ 286 h 668"/>
              <a:gd name="T58" fmla="*/ 2087 w 3590"/>
              <a:gd name="T59" fmla="*/ 532 h 668"/>
              <a:gd name="T60" fmla="*/ 1960 w 3590"/>
              <a:gd name="T61" fmla="*/ 279 h 668"/>
              <a:gd name="T62" fmla="*/ 1955 w 3590"/>
              <a:gd name="T63" fmla="*/ 500 h 668"/>
              <a:gd name="T64" fmla="*/ 2387 w 3590"/>
              <a:gd name="T65" fmla="*/ 497 h 668"/>
              <a:gd name="T66" fmla="*/ 2184 w 3590"/>
              <a:gd name="T67" fmla="*/ 281 h 668"/>
              <a:gd name="T68" fmla="*/ 2379 w 3590"/>
              <a:gd name="T69" fmla="*/ 390 h 668"/>
              <a:gd name="T70" fmla="*/ 2192 w 3590"/>
              <a:gd name="T71" fmla="*/ 391 h 668"/>
              <a:gd name="T72" fmla="*/ 2379 w 3590"/>
              <a:gd name="T73" fmla="*/ 390 h 668"/>
              <a:gd name="T74" fmla="*/ 2651 w 3590"/>
              <a:gd name="T75" fmla="*/ 328 h 668"/>
              <a:gd name="T76" fmla="*/ 2576 w 3590"/>
              <a:gd name="T77" fmla="*/ 532 h 668"/>
              <a:gd name="T78" fmla="*/ 2551 w 3590"/>
              <a:gd name="T79" fmla="*/ 461 h 668"/>
              <a:gd name="T80" fmla="*/ 2628 w 3590"/>
              <a:gd name="T81" fmla="*/ 247 h 668"/>
              <a:gd name="T82" fmla="*/ 2735 w 3590"/>
              <a:gd name="T83" fmla="*/ 487 h 668"/>
              <a:gd name="T84" fmla="*/ 3039 w 3590"/>
              <a:gd name="T85" fmla="*/ 456 h 668"/>
              <a:gd name="T86" fmla="*/ 2864 w 3590"/>
              <a:gd name="T87" fmla="*/ 473 h 668"/>
              <a:gd name="T88" fmla="*/ 2934 w 3590"/>
              <a:gd name="T89" fmla="*/ 406 h 668"/>
              <a:gd name="T90" fmla="*/ 2965 w 3590"/>
              <a:gd name="T91" fmla="*/ 240 h 668"/>
              <a:gd name="T92" fmla="*/ 2925 w 3590"/>
              <a:gd name="T93" fmla="*/ 290 h 668"/>
              <a:gd name="T94" fmla="*/ 3022 w 3590"/>
              <a:gd name="T95" fmla="*/ 408 h 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90" h="668">
                <a:moveTo>
                  <a:pt x="295" y="52"/>
                </a:moveTo>
                <a:cubicBezTo>
                  <a:pt x="667" y="0"/>
                  <a:pt x="667" y="0"/>
                  <a:pt x="667" y="0"/>
                </a:cubicBezTo>
                <a:cubicBezTo>
                  <a:pt x="667" y="329"/>
                  <a:pt x="667" y="329"/>
                  <a:pt x="667" y="329"/>
                </a:cubicBezTo>
                <a:cubicBezTo>
                  <a:pt x="295" y="329"/>
                  <a:pt x="295" y="329"/>
                  <a:pt x="295" y="329"/>
                </a:cubicBezTo>
                <a:lnTo>
                  <a:pt x="295" y="52"/>
                </a:lnTo>
                <a:close/>
                <a:moveTo>
                  <a:pt x="284" y="329"/>
                </a:moveTo>
                <a:cubicBezTo>
                  <a:pt x="284" y="54"/>
                  <a:pt x="284" y="54"/>
                  <a:pt x="284" y="5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329"/>
                  <a:pt x="0" y="329"/>
                  <a:pt x="0" y="329"/>
                </a:cubicBezTo>
                <a:lnTo>
                  <a:pt x="284" y="329"/>
                </a:lnTo>
                <a:close/>
                <a:moveTo>
                  <a:pt x="295" y="340"/>
                </a:moveTo>
                <a:cubicBezTo>
                  <a:pt x="295" y="616"/>
                  <a:pt x="295" y="616"/>
                  <a:pt x="295" y="616"/>
                </a:cubicBezTo>
                <a:cubicBezTo>
                  <a:pt x="667" y="668"/>
                  <a:pt x="667" y="668"/>
                  <a:pt x="667" y="668"/>
                </a:cubicBezTo>
                <a:cubicBezTo>
                  <a:pt x="667" y="340"/>
                  <a:pt x="667" y="340"/>
                  <a:pt x="667" y="340"/>
                </a:cubicBezTo>
                <a:lnTo>
                  <a:pt x="295" y="340"/>
                </a:lnTo>
                <a:close/>
                <a:moveTo>
                  <a:pt x="284" y="340"/>
                </a:moveTo>
                <a:cubicBezTo>
                  <a:pt x="0" y="340"/>
                  <a:pt x="0" y="340"/>
                  <a:pt x="0" y="340"/>
                </a:cubicBezTo>
                <a:cubicBezTo>
                  <a:pt x="0" y="575"/>
                  <a:pt x="0" y="575"/>
                  <a:pt x="0" y="575"/>
                </a:cubicBezTo>
                <a:cubicBezTo>
                  <a:pt x="284" y="615"/>
                  <a:pt x="284" y="615"/>
                  <a:pt x="284" y="615"/>
                </a:cubicBezTo>
                <a:lnTo>
                  <a:pt x="284" y="340"/>
                </a:lnTo>
                <a:close/>
                <a:moveTo>
                  <a:pt x="3269" y="123"/>
                </a:moveTo>
                <a:cubicBezTo>
                  <a:pt x="3252" y="123"/>
                  <a:pt x="3252" y="123"/>
                  <a:pt x="3252" y="123"/>
                </a:cubicBezTo>
                <a:cubicBezTo>
                  <a:pt x="3245" y="129"/>
                  <a:pt x="3236" y="136"/>
                  <a:pt x="3227" y="142"/>
                </a:cubicBezTo>
                <a:cubicBezTo>
                  <a:pt x="3217" y="148"/>
                  <a:pt x="3207" y="154"/>
                  <a:pt x="3196" y="160"/>
                </a:cubicBezTo>
                <a:cubicBezTo>
                  <a:pt x="3185" y="166"/>
                  <a:pt x="3174" y="171"/>
                  <a:pt x="3163" y="176"/>
                </a:cubicBezTo>
                <a:cubicBezTo>
                  <a:pt x="3152" y="181"/>
                  <a:pt x="3141" y="185"/>
                  <a:pt x="3131" y="187"/>
                </a:cubicBezTo>
                <a:cubicBezTo>
                  <a:pt x="3131" y="234"/>
                  <a:pt x="3131" y="234"/>
                  <a:pt x="3131" y="234"/>
                </a:cubicBezTo>
                <a:cubicBezTo>
                  <a:pt x="3140" y="231"/>
                  <a:pt x="3149" y="228"/>
                  <a:pt x="3158" y="224"/>
                </a:cubicBezTo>
                <a:cubicBezTo>
                  <a:pt x="3168" y="221"/>
                  <a:pt x="3177" y="216"/>
                  <a:pt x="3185" y="212"/>
                </a:cubicBezTo>
                <a:cubicBezTo>
                  <a:pt x="3194" y="207"/>
                  <a:pt x="3201" y="203"/>
                  <a:pt x="3208" y="198"/>
                </a:cubicBezTo>
                <a:cubicBezTo>
                  <a:pt x="3215" y="194"/>
                  <a:pt x="3220" y="190"/>
                  <a:pt x="3223" y="186"/>
                </a:cubicBezTo>
                <a:cubicBezTo>
                  <a:pt x="3223" y="531"/>
                  <a:pt x="3223" y="531"/>
                  <a:pt x="3223" y="531"/>
                </a:cubicBezTo>
                <a:cubicBezTo>
                  <a:pt x="3269" y="531"/>
                  <a:pt x="3269" y="531"/>
                  <a:pt x="3269" y="531"/>
                </a:cubicBezTo>
                <a:lnTo>
                  <a:pt x="3269" y="123"/>
                </a:lnTo>
                <a:close/>
                <a:moveTo>
                  <a:pt x="3465" y="125"/>
                </a:moveTo>
                <a:cubicBezTo>
                  <a:pt x="3443" y="125"/>
                  <a:pt x="3424" y="130"/>
                  <a:pt x="3407" y="139"/>
                </a:cubicBezTo>
                <a:cubicBezTo>
                  <a:pt x="3390" y="148"/>
                  <a:pt x="3376" y="162"/>
                  <a:pt x="3365" y="180"/>
                </a:cubicBezTo>
                <a:cubicBezTo>
                  <a:pt x="3354" y="198"/>
                  <a:pt x="3345" y="221"/>
                  <a:pt x="3339" y="247"/>
                </a:cubicBezTo>
                <a:cubicBezTo>
                  <a:pt x="3333" y="274"/>
                  <a:pt x="3331" y="305"/>
                  <a:pt x="3331" y="340"/>
                </a:cubicBezTo>
                <a:cubicBezTo>
                  <a:pt x="3331" y="371"/>
                  <a:pt x="3333" y="399"/>
                  <a:pt x="3339" y="424"/>
                </a:cubicBezTo>
                <a:cubicBezTo>
                  <a:pt x="3344" y="448"/>
                  <a:pt x="3353" y="469"/>
                  <a:pt x="3363" y="486"/>
                </a:cubicBezTo>
                <a:cubicBezTo>
                  <a:pt x="3374" y="503"/>
                  <a:pt x="3387" y="516"/>
                  <a:pt x="3403" y="525"/>
                </a:cubicBezTo>
                <a:cubicBezTo>
                  <a:pt x="3419" y="533"/>
                  <a:pt x="3436" y="538"/>
                  <a:pt x="3456" y="538"/>
                </a:cubicBezTo>
                <a:cubicBezTo>
                  <a:pt x="3478" y="538"/>
                  <a:pt x="3496" y="533"/>
                  <a:pt x="3513" y="524"/>
                </a:cubicBezTo>
                <a:cubicBezTo>
                  <a:pt x="3530" y="515"/>
                  <a:pt x="3544" y="501"/>
                  <a:pt x="3555" y="484"/>
                </a:cubicBezTo>
                <a:cubicBezTo>
                  <a:pt x="3566" y="466"/>
                  <a:pt x="3575" y="444"/>
                  <a:pt x="3581" y="418"/>
                </a:cubicBezTo>
                <a:cubicBezTo>
                  <a:pt x="3587" y="393"/>
                  <a:pt x="3590" y="363"/>
                  <a:pt x="3590" y="330"/>
                </a:cubicBezTo>
                <a:cubicBezTo>
                  <a:pt x="3590" y="194"/>
                  <a:pt x="3548" y="125"/>
                  <a:pt x="3465" y="125"/>
                </a:cubicBezTo>
                <a:close/>
                <a:moveTo>
                  <a:pt x="3461" y="499"/>
                </a:moveTo>
                <a:cubicBezTo>
                  <a:pt x="3405" y="499"/>
                  <a:pt x="3377" y="445"/>
                  <a:pt x="3377" y="337"/>
                </a:cubicBezTo>
                <a:cubicBezTo>
                  <a:pt x="3377" y="222"/>
                  <a:pt x="3406" y="164"/>
                  <a:pt x="3463" y="164"/>
                </a:cubicBezTo>
                <a:cubicBezTo>
                  <a:pt x="3517" y="164"/>
                  <a:pt x="3544" y="221"/>
                  <a:pt x="3544" y="334"/>
                </a:cubicBezTo>
                <a:cubicBezTo>
                  <a:pt x="3544" y="444"/>
                  <a:pt x="3516" y="499"/>
                  <a:pt x="3461" y="499"/>
                </a:cubicBezTo>
                <a:close/>
                <a:moveTo>
                  <a:pt x="1382" y="133"/>
                </a:moveTo>
                <a:cubicBezTo>
                  <a:pt x="1270" y="532"/>
                  <a:pt x="1270" y="532"/>
                  <a:pt x="1270" y="532"/>
                </a:cubicBezTo>
                <a:cubicBezTo>
                  <a:pt x="1215" y="532"/>
                  <a:pt x="1215" y="532"/>
                  <a:pt x="1215" y="532"/>
                </a:cubicBezTo>
                <a:cubicBezTo>
                  <a:pt x="1133" y="240"/>
                  <a:pt x="1133" y="240"/>
                  <a:pt x="1133" y="240"/>
                </a:cubicBezTo>
                <a:cubicBezTo>
                  <a:pt x="1130" y="229"/>
                  <a:pt x="1128" y="216"/>
                  <a:pt x="1127" y="200"/>
                </a:cubicBezTo>
                <a:cubicBezTo>
                  <a:pt x="1126" y="200"/>
                  <a:pt x="1126" y="200"/>
                  <a:pt x="1126" y="200"/>
                </a:cubicBezTo>
                <a:cubicBezTo>
                  <a:pt x="1124" y="214"/>
                  <a:pt x="1122" y="227"/>
                  <a:pt x="1118" y="240"/>
                </a:cubicBezTo>
                <a:cubicBezTo>
                  <a:pt x="1036" y="532"/>
                  <a:pt x="1036" y="532"/>
                  <a:pt x="1036" y="532"/>
                </a:cubicBezTo>
                <a:cubicBezTo>
                  <a:pt x="981" y="532"/>
                  <a:pt x="981" y="532"/>
                  <a:pt x="981" y="532"/>
                </a:cubicBezTo>
                <a:cubicBezTo>
                  <a:pt x="865" y="133"/>
                  <a:pt x="865" y="133"/>
                  <a:pt x="865" y="133"/>
                </a:cubicBezTo>
                <a:cubicBezTo>
                  <a:pt x="916" y="133"/>
                  <a:pt x="916" y="133"/>
                  <a:pt x="916" y="133"/>
                </a:cubicBezTo>
                <a:cubicBezTo>
                  <a:pt x="1001" y="439"/>
                  <a:pt x="1001" y="439"/>
                  <a:pt x="1001" y="439"/>
                </a:cubicBezTo>
                <a:cubicBezTo>
                  <a:pt x="1004" y="452"/>
                  <a:pt x="1007" y="466"/>
                  <a:pt x="1008" y="479"/>
                </a:cubicBezTo>
                <a:cubicBezTo>
                  <a:pt x="1009" y="479"/>
                  <a:pt x="1009" y="479"/>
                  <a:pt x="1009" y="479"/>
                </a:cubicBezTo>
                <a:cubicBezTo>
                  <a:pt x="1010" y="468"/>
                  <a:pt x="1013" y="454"/>
                  <a:pt x="1017" y="439"/>
                </a:cubicBezTo>
                <a:cubicBezTo>
                  <a:pt x="1106" y="133"/>
                  <a:pt x="1106" y="133"/>
                  <a:pt x="1106" y="133"/>
                </a:cubicBezTo>
                <a:cubicBezTo>
                  <a:pt x="1151" y="133"/>
                  <a:pt x="1151" y="133"/>
                  <a:pt x="1151" y="133"/>
                </a:cubicBezTo>
                <a:cubicBezTo>
                  <a:pt x="1235" y="441"/>
                  <a:pt x="1235" y="441"/>
                  <a:pt x="1235" y="441"/>
                </a:cubicBezTo>
                <a:cubicBezTo>
                  <a:pt x="1238" y="453"/>
                  <a:pt x="1240" y="465"/>
                  <a:pt x="1242" y="478"/>
                </a:cubicBezTo>
                <a:cubicBezTo>
                  <a:pt x="1243" y="478"/>
                  <a:pt x="1243" y="478"/>
                  <a:pt x="1243" y="478"/>
                </a:cubicBezTo>
                <a:cubicBezTo>
                  <a:pt x="1244" y="469"/>
                  <a:pt x="1246" y="456"/>
                  <a:pt x="1250" y="440"/>
                </a:cubicBezTo>
                <a:cubicBezTo>
                  <a:pt x="1332" y="133"/>
                  <a:pt x="1332" y="133"/>
                  <a:pt x="1332" y="133"/>
                </a:cubicBezTo>
                <a:lnTo>
                  <a:pt x="1382" y="133"/>
                </a:lnTo>
                <a:close/>
                <a:moveTo>
                  <a:pt x="1475" y="153"/>
                </a:moveTo>
                <a:cubicBezTo>
                  <a:pt x="1475" y="162"/>
                  <a:pt x="1472" y="169"/>
                  <a:pt x="1466" y="174"/>
                </a:cubicBezTo>
                <a:cubicBezTo>
                  <a:pt x="1461" y="180"/>
                  <a:pt x="1453" y="183"/>
                  <a:pt x="1445" y="183"/>
                </a:cubicBezTo>
                <a:cubicBezTo>
                  <a:pt x="1437" y="183"/>
                  <a:pt x="1430" y="180"/>
                  <a:pt x="1424" y="175"/>
                </a:cubicBezTo>
                <a:cubicBezTo>
                  <a:pt x="1418" y="169"/>
                  <a:pt x="1416" y="162"/>
                  <a:pt x="1416" y="153"/>
                </a:cubicBezTo>
                <a:cubicBezTo>
                  <a:pt x="1416" y="145"/>
                  <a:pt x="1418" y="138"/>
                  <a:pt x="1424" y="132"/>
                </a:cubicBezTo>
                <a:cubicBezTo>
                  <a:pt x="1430" y="127"/>
                  <a:pt x="1437" y="124"/>
                  <a:pt x="1445" y="124"/>
                </a:cubicBezTo>
                <a:cubicBezTo>
                  <a:pt x="1454" y="124"/>
                  <a:pt x="1461" y="127"/>
                  <a:pt x="1467" y="132"/>
                </a:cubicBezTo>
                <a:cubicBezTo>
                  <a:pt x="1472" y="138"/>
                  <a:pt x="1475" y="145"/>
                  <a:pt x="1475" y="153"/>
                </a:cubicBezTo>
                <a:close/>
                <a:moveTo>
                  <a:pt x="1468" y="532"/>
                </a:moveTo>
                <a:cubicBezTo>
                  <a:pt x="1422" y="532"/>
                  <a:pt x="1422" y="532"/>
                  <a:pt x="1422" y="532"/>
                </a:cubicBezTo>
                <a:cubicBezTo>
                  <a:pt x="1422" y="247"/>
                  <a:pt x="1422" y="247"/>
                  <a:pt x="1422" y="247"/>
                </a:cubicBezTo>
                <a:cubicBezTo>
                  <a:pt x="1468" y="247"/>
                  <a:pt x="1468" y="247"/>
                  <a:pt x="1468" y="247"/>
                </a:cubicBezTo>
                <a:lnTo>
                  <a:pt x="1468" y="532"/>
                </a:lnTo>
                <a:close/>
                <a:moveTo>
                  <a:pt x="1772" y="532"/>
                </a:moveTo>
                <a:cubicBezTo>
                  <a:pt x="1726" y="532"/>
                  <a:pt x="1726" y="532"/>
                  <a:pt x="1726" y="532"/>
                </a:cubicBezTo>
                <a:cubicBezTo>
                  <a:pt x="1726" y="369"/>
                  <a:pt x="1726" y="369"/>
                  <a:pt x="1726" y="369"/>
                </a:cubicBezTo>
                <a:cubicBezTo>
                  <a:pt x="1726" y="309"/>
                  <a:pt x="1704" y="279"/>
                  <a:pt x="1660" y="279"/>
                </a:cubicBezTo>
                <a:cubicBezTo>
                  <a:pt x="1638" y="279"/>
                  <a:pt x="1619" y="288"/>
                  <a:pt x="1604" y="305"/>
                </a:cubicBezTo>
                <a:cubicBezTo>
                  <a:pt x="1589" y="322"/>
                  <a:pt x="1581" y="343"/>
                  <a:pt x="1581" y="369"/>
                </a:cubicBezTo>
                <a:cubicBezTo>
                  <a:pt x="1581" y="532"/>
                  <a:pt x="1581" y="532"/>
                  <a:pt x="1581" y="532"/>
                </a:cubicBezTo>
                <a:cubicBezTo>
                  <a:pt x="1536" y="532"/>
                  <a:pt x="1536" y="532"/>
                  <a:pt x="1536" y="532"/>
                </a:cubicBezTo>
                <a:cubicBezTo>
                  <a:pt x="1536" y="247"/>
                  <a:pt x="1536" y="247"/>
                  <a:pt x="1536" y="247"/>
                </a:cubicBezTo>
                <a:cubicBezTo>
                  <a:pt x="1581" y="247"/>
                  <a:pt x="1581" y="247"/>
                  <a:pt x="1581" y="247"/>
                </a:cubicBezTo>
                <a:cubicBezTo>
                  <a:pt x="1581" y="294"/>
                  <a:pt x="1581" y="294"/>
                  <a:pt x="1581" y="294"/>
                </a:cubicBezTo>
                <a:cubicBezTo>
                  <a:pt x="1583" y="294"/>
                  <a:pt x="1583" y="294"/>
                  <a:pt x="1583" y="294"/>
                </a:cubicBezTo>
                <a:cubicBezTo>
                  <a:pt x="1604" y="258"/>
                  <a:pt x="1635" y="240"/>
                  <a:pt x="1676" y="240"/>
                </a:cubicBezTo>
                <a:cubicBezTo>
                  <a:pt x="1707" y="240"/>
                  <a:pt x="1731" y="250"/>
                  <a:pt x="1747" y="271"/>
                </a:cubicBezTo>
                <a:cubicBezTo>
                  <a:pt x="1764" y="291"/>
                  <a:pt x="1772" y="320"/>
                  <a:pt x="1772" y="358"/>
                </a:cubicBezTo>
                <a:lnTo>
                  <a:pt x="1772" y="532"/>
                </a:lnTo>
                <a:close/>
                <a:moveTo>
                  <a:pt x="2087" y="532"/>
                </a:moveTo>
                <a:cubicBezTo>
                  <a:pt x="2041" y="532"/>
                  <a:pt x="2041" y="532"/>
                  <a:pt x="2041" y="532"/>
                </a:cubicBezTo>
                <a:cubicBezTo>
                  <a:pt x="2041" y="483"/>
                  <a:pt x="2041" y="483"/>
                  <a:pt x="2041" y="483"/>
                </a:cubicBezTo>
                <a:cubicBezTo>
                  <a:pt x="2040" y="483"/>
                  <a:pt x="2040" y="483"/>
                  <a:pt x="2040" y="483"/>
                </a:cubicBezTo>
                <a:cubicBezTo>
                  <a:pt x="2019" y="520"/>
                  <a:pt x="1986" y="539"/>
                  <a:pt x="1942" y="539"/>
                </a:cubicBezTo>
                <a:cubicBezTo>
                  <a:pt x="1906" y="539"/>
                  <a:pt x="1878" y="526"/>
                  <a:pt x="1856" y="500"/>
                </a:cubicBezTo>
                <a:cubicBezTo>
                  <a:pt x="1835" y="474"/>
                  <a:pt x="1824" y="440"/>
                  <a:pt x="1824" y="396"/>
                </a:cubicBezTo>
                <a:cubicBezTo>
                  <a:pt x="1824" y="349"/>
                  <a:pt x="1836" y="312"/>
                  <a:pt x="1860" y="283"/>
                </a:cubicBezTo>
                <a:cubicBezTo>
                  <a:pt x="1883" y="255"/>
                  <a:pt x="1915" y="240"/>
                  <a:pt x="1955" y="240"/>
                </a:cubicBezTo>
                <a:cubicBezTo>
                  <a:pt x="1993" y="240"/>
                  <a:pt x="2022" y="256"/>
                  <a:pt x="2040" y="286"/>
                </a:cubicBezTo>
                <a:cubicBezTo>
                  <a:pt x="2041" y="286"/>
                  <a:pt x="2041" y="286"/>
                  <a:pt x="2041" y="286"/>
                </a:cubicBezTo>
                <a:cubicBezTo>
                  <a:pt x="2041" y="110"/>
                  <a:pt x="2041" y="110"/>
                  <a:pt x="2041" y="110"/>
                </a:cubicBezTo>
                <a:cubicBezTo>
                  <a:pt x="2087" y="110"/>
                  <a:pt x="2087" y="110"/>
                  <a:pt x="2087" y="110"/>
                </a:cubicBezTo>
                <a:lnTo>
                  <a:pt x="2087" y="532"/>
                </a:lnTo>
                <a:close/>
                <a:moveTo>
                  <a:pt x="2041" y="403"/>
                </a:moveTo>
                <a:cubicBezTo>
                  <a:pt x="2041" y="361"/>
                  <a:pt x="2041" y="361"/>
                  <a:pt x="2041" y="361"/>
                </a:cubicBezTo>
                <a:cubicBezTo>
                  <a:pt x="2041" y="338"/>
                  <a:pt x="2033" y="318"/>
                  <a:pt x="2018" y="303"/>
                </a:cubicBezTo>
                <a:cubicBezTo>
                  <a:pt x="2002" y="287"/>
                  <a:pt x="1983" y="279"/>
                  <a:pt x="1960" y="279"/>
                </a:cubicBezTo>
                <a:cubicBezTo>
                  <a:pt x="1933" y="279"/>
                  <a:pt x="1911" y="289"/>
                  <a:pt x="1895" y="310"/>
                </a:cubicBezTo>
                <a:cubicBezTo>
                  <a:pt x="1879" y="330"/>
                  <a:pt x="1871" y="358"/>
                  <a:pt x="1871" y="394"/>
                </a:cubicBezTo>
                <a:cubicBezTo>
                  <a:pt x="1871" y="427"/>
                  <a:pt x="1879" y="452"/>
                  <a:pt x="1894" y="471"/>
                </a:cubicBezTo>
                <a:cubicBezTo>
                  <a:pt x="1909" y="490"/>
                  <a:pt x="1929" y="500"/>
                  <a:pt x="1955" y="500"/>
                </a:cubicBezTo>
                <a:cubicBezTo>
                  <a:pt x="1980" y="500"/>
                  <a:pt x="2001" y="491"/>
                  <a:pt x="2017" y="473"/>
                </a:cubicBezTo>
                <a:cubicBezTo>
                  <a:pt x="2033" y="454"/>
                  <a:pt x="2041" y="431"/>
                  <a:pt x="2041" y="403"/>
                </a:cubicBezTo>
                <a:close/>
                <a:moveTo>
                  <a:pt x="2425" y="388"/>
                </a:moveTo>
                <a:cubicBezTo>
                  <a:pt x="2425" y="434"/>
                  <a:pt x="2412" y="470"/>
                  <a:pt x="2387" y="497"/>
                </a:cubicBezTo>
                <a:cubicBezTo>
                  <a:pt x="2361" y="525"/>
                  <a:pt x="2327" y="539"/>
                  <a:pt x="2284" y="539"/>
                </a:cubicBezTo>
                <a:cubicBezTo>
                  <a:pt x="2242" y="539"/>
                  <a:pt x="2208" y="525"/>
                  <a:pt x="2183" y="499"/>
                </a:cubicBezTo>
                <a:cubicBezTo>
                  <a:pt x="2158" y="472"/>
                  <a:pt x="2145" y="437"/>
                  <a:pt x="2145" y="393"/>
                </a:cubicBezTo>
                <a:cubicBezTo>
                  <a:pt x="2145" y="346"/>
                  <a:pt x="2158" y="309"/>
                  <a:pt x="2184" y="281"/>
                </a:cubicBezTo>
                <a:cubicBezTo>
                  <a:pt x="2210" y="254"/>
                  <a:pt x="2245" y="240"/>
                  <a:pt x="2290" y="240"/>
                </a:cubicBezTo>
                <a:cubicBezTo>
                  <a:pt x="2332" y="240"/>
                  <a:pt x="2366" y="253"/>
                  <a:pt x="2389" y="280"/>
                </a:cubicBezTo>
                <a:cubicBezTo>
                  <a:pt x="2413" y="306"/>
                  <a:pt x="2425" y="342"/>
                  <a:pt x="2425" y="388"/>
                </a:cubicBezTo>
                <a:close/>
                <a:moveTo>
                  <a:pt x="2379" y="390"/>
                </a:moveTo>
                <a:cubicBezTo>
                  <a:pt x="2379" y="354"/>
                  <a:pt x="2371" y="327"/>
                  <a:pt x="2355" y="308"/>
                </a:cubicBezTo>
                <a:cubicBezTo>
                  <a:pt x="2339" y="289"/>
                  <a:pt x="2316" y="279"/>
                  <a:pt x="2287" y="279"/>
                </a:cubicBezTo>
                <a:cubicBezTo>
                  <a:pt x="2258" y="279"/>
                  <a:pt x="2234" y="289"/>
                  <a:pt x="2217" y="308"/>
                </a:cubicBezTo>
                <a:cubicBezTo>
                  <a:pt x="2200" y="328"/>
                  <a:pt x="2192" y="356"/>
                  <a:pt x="2192" y="391"/>
                </a:cubicBezTo>
                <a:cubicBezTo>
                  <a:pt x="2192" y="425"/>
                  <a:pt x="2200" y="452"/>
                  <a:pt x="2218" y="471"/>
                </a:cubicBezTo>
                <a:cubicBezTo>
                  <a:pt x="2235" y="490"/>
                  <a:pt x="2258" y="500"/>
                  <a:pt x="2287" y="500"/>
                </a:cubicBezTo>
                <a:cubicBezTo>
                  <a:pt x="2317" y="500"/>
                  <a:pt x="2339" y="490"/>
                  <a:pt x="2355" y="471"/>
                </a:cubicBezTo>
                <a:cubicBezTo>
                  <a:pt x="2371" y="453"/>
                  <a:pt x="2379" y="425"/>
                  <a:pt x="2379" y="390"/>
                </a:cubicBezTo>
                <a:close/>
                <a:moveTo>
                  <a:pt x="2842" y="247"/>
                </a:moveTo>
                <a:cubicBezTo>
                  <a:pt x="2757" y="532"/>
                  <a:pt x="2757" y="532"/>
                  <a:pt x="2757" y="532"/>
                </a:cubicBezTo>
                <a:cubicBezTo>
                  <a:pt x="2710" y="532"/>
                  <a:pt x="2710" y="532"/>
                  <a:pt x="2710" y="532"/>
                </a:cubicBezTo>
                <a:cubicBezTo>
                  <a:pt x="2651" y="328"/>
                  <a:pt x="2651" y="328"/>
                  <a:pt x="2651" y="328"/>
                </a:cubicBezTo>
                <a:cubicBezTo>
                  <a:pt x="2649" y="321"/>
                  <a:pt x="2648" y="312"/>
                  <a:pt x="2647" y="302"/>
                </a:cubicBezTo>
                <a:cubicBezTo>
                  <a:pt x="2646" y="302"/>
                  <a:pt x="2646" y="302"/>
                  <a:pt x="2646" y="302"/>
                </a:cubicBezTo>
                <a:cubicBezTo>
                  <a:pt x="2645" y="308"/>
                  <a:pt x="2643" y="317"/>
                  <a:pt x="2640" y="328"/>
                </a:cubicBezTo>
                <a:cubicBezTo>
                  <a:pt x="2576" y="532"/>
                  <a:pt x="2576" y="532"/>
                  <a:pt x="2576" y="532"/>
                </a:cubicBezTo>
                <a:cubicBezTo>
                  <a:pt x="2531" y="532"/>
                  <a:pt x="2531" y="532"/>
                  <a:pt x="2531" y="532"/>
                </a:cubicBezTo>
                <a:cubicBezTo>
                  <a:pt x="2445" y="247"/>
                  <a:pt x="2445" y="247"/>
                  <a:pt x="2445" y="247"/>
                </a:cubicBezTo>
                <a:cubicBezTo>
                  <a:pt x="2493" y="247"/>
                  <a:pt x="2493" y="247"/>
                  <a:pt x="2493" y="247"/>
                </a:cubicBezTo>
                <a:cubicBezTo>
                  <a:pt x="2551" y="461"/>
                  <a:pt x="2551" y="461"/>
                  <a:pt x="2551" y="461"/>
                </a:cubicBezTo>
                <a:cubicBezTo>
                  <a:pt x="2553" y="469"/>
                  <a:pt x="2554" y="477"/>
                  <a:pt x="2555" y="487"/>
                </a:cubicBezTo>
                <a:cubicBezTo>
                  <a:pt x="2557" y="487"/>
                  <a:pt x="2557" y="487"/>
                  <a:pt x="2557" y="487"/>
                </a:cubicBezTo>
                <a:cubicBezTo>
                  <a:pt x="2558" y="480"/>
                  <a:pt x="2559" y="471"/>
                  <a:pt x="2563" y="461"/>
                </a:cubicBezTo>
                <a:cubicBezTo>
                  <a:pt x="2628" y="247"/>
                  <a:pt x="2628" y="247"/>
                  <a:pt x="2628" y="247"/>
                </a:cubicBezTo>
                <a:cubicBezTo>
                  <a:pt x="2670" y="247"/>
                  <a:pt x="2670" y="247"/>
                  <a:pt x="2670" y="247"/>
                </a:cubicBezTo>
                <a:cubicBezTo>
                  <a:pt x="2729" y="462"/>
                  <a:pt x="2729" y="462"/>
                  <a:pt x="2729" y="462"/>
                </a:cubicBezTo>
                <a:cubicBezTo>
                  <a:pt x="2731" y="469"/>
                  <a:pt x="2732" y="477"/>
                  <a:pt x="2733" y="487"/>
                </a:cubicBezTo>
                <a:cubicBezTo>
                  <a:pt x="2735" y="487"/>
                  <a:pt x="2735" y="487"/>
                  <a:pt x="2735" y="487"/>
                </a:cubicBezTo>
                <a:cubicBezTo>
                  <a:pt x="2735" y="478"/>
                  <a:pt x="2737" y="470"/>
                  <a:pt x="2739" y="462"/>
                </a:cubicBezTo>
                <a:cubicBezTo>
                  <a:pt x="2797" y="247"/>
                  <a:pt x="2797" y="247"/>
                  <a:pt x="2797" y="247"/>
                </a:cubicBezTo>
                <a:lnTo>
                  <a:pt x="2842" y="247"/>
                </a:lnTo>
                <a:close/>
                <a:moveTo>
                  <a:pt x="3039" y="456"/>
                </a:moveTo>
                <a:cubicBezTo>
                  <a:pt x="3039" y="480"/>
                  <a:pt x="3029" y="500"/>
                  <a:pt x="3010" y="516"/>
                </a:cubicBezTo>
                <a:cubicBezTo>
                  <a:pt x="2991" y="531"/>
                  <a:pt x="2966" y="539"/>
                  <a:pt x="2935" y="539"/>
                </a:cubicBezTo>
                <a:cubicBezTo>
                  <a:pt x="2908" y="539"/>
                  <a:pt x="2884" y="533"/>
                  <a:pt x="2864" y="521"/>
                </a:cubicBezTo>
                <a:cubicBezTo>
                  <a:pt x="2864" y="473"/>
                  <a:pt x="2864" y="473"/>
                  <a:pt x="2864" y="473"/>
                </a:cubicBezTo>
                <a:cubicBezTo>
                  <a:pt x="2886" y="491"/>
                  <a:pt x="2911" y="500"/>
                  <a:pt x="2938" y="500"/>
                </a:cubicBezTo>
                <a:cubicBezTo>
                  <a:pt x="2974" y="500"/>
                  <a:pt x="2992" y="487"/>
                  <a:pt x="2992" y="460"/>
                </a:cubicBezTo>
                <a:cubicBezTo>
                  <a:pt x="2992" y="449"/>
                  <a:pt x="2989" y="441"/>
                  <a:pt x="2982" y="434"/>
                </a:cubicBezTo>
                <a:cubicBezTo>
                  <a:pt x="2975" y="427"/>
                  <a:pt x="2959" y="418"/>
                  <a:pt x="2934" y="406"/>
                </a:cubicBezTo>
                <a:cubicBezTo>
                  <a:pt x="2908" y="396"/>
                  <a:pt x="2891" y="384"/>
                  <a:pt x="2880" y="372"/>
                </a:cubicBezTo>
                <a:cubicBezTo>
                  <a:pt x="2870" y="360"/>
                  <a:pt x="2865" y="343"/>
                  <a:pt x="2865" y="323"/>
                </a:cubicBezTo>
                <a:cubicBezTo>
                  <a:pt x="2865" y="299"/>
                  <a:pt x="2874" y="280"/>
                  <a:pt x="2893" y="264"/>
                </a:cubicBezTo>
                <a:cubicBezTo>
                  <a:pt x="2912" y="248"/>
                  <a:pt x="2936" y="240"/>
                  <a:pt x="2965" y="240"/>
                </a:cubicBezTo>
                <a:cubicBezTo>
                  <a:pt x="2987" y="240"/>
                  <a:pt x="3008" y="245"/>
                  <a:pt x="3026" y="254"/>
                </a:cubicBezTo>
                <a:cubicBezTo>
                  <a:pt x="3026" y="299"/>
                  <a:pt x="3026" y="299"/>
                  <a:pt x="3026" y="299"/>
                </a:cubicBezTo>
                <a:cubicBezTo>
                  <a:pt x="3007" y="286"/>
                  <a:pt x="2986" y="279"/>
                  <a:pt x="2961" y="279"/>
                </a:cubicBezTo>
                <a:cubicBezTo>
                  <a:pt x="2946" y="279"/>
                  <a:pt x="2934" y="283"/>
                  <a:pt x="2925" y="290"/>
                </a:cubicBezTo>
                <a:cubicBezTo>
                  <a:pt x="2916" y="298"/>
                  <a:pt x="2911" y="307"/>
                  <a:pt x="2911" y="319"/>
                </a:cubicBezTo>
                <a:cubicBezTo>
                  <a:pt x="2911" y="332"/>
                  <a:pt x="2915" y="341"/>
                  <a:pt x="2922" y="348"/>
                </a:cubicBezTo>
                <a:cubicBezTo>
                  <a:pt x="2929" y="355"/>
                  <a:pt x="2943" y="363"/>
                  <a:pt x="2965" y="372"/>
                </a:cubicBezTo>
                <a:cubicBezTo>
                  <a:pt x="2993" y="383"/>
                  <a:pt x="3012" y="396"/>
                  <a:pt x="3022" y="408"/>
                </a:cubicBezTo>
                <a:cubicBezTo>
                  <a:pt x="3033" y="421"/>
                  <a:pt x="3039" y="437"/>
                  <a:pt x="3039" y="45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89617" tIns="44808" rIns="89617" bIns="44808" numCol="1" anchor="t" anchorCtr="0" compatLnSpc="1">
            <a:prstTxWarp prst="textNoShape">
              <a:avLst/>
            </a:prstTxWarp>
          </a:bodyPr>
          <a:lstStyle/>
          <a:p>
            <a:pPr defTabSz="914016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86"/>
            <a:ext cx="10431769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147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4" y="3877290"/>
            <a:ext cx="10431769" cy="1578426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-4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48586" y="6122090"/>
            <a:ext cx="1254995" cy="26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950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5816C4B-F24C-7445-85C6-32FA56B7AD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501254"/>
          </a:xfrm>
        </p:spPr>
        <p:txBody>
          <a:bodyPr lIns="548640" tIns="548640" rIns="548640" bIns="0"/>
          <a:lstStyle>
            <a:lvl1pPr algn="l">
              <a:lnSpc>
                <a:spcPct val="100000"/>
              </a:lnSpc>
              <a:defRPr sz="2400" b="1" i="0" spc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3260583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vic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3137"/>
          </a:xfrm>
        </p:spPr>
        <p:txBody>
          <a:bodyPr wrap="square" lIns="0" tIns="0" rIns="0" bIns="0">
            <a:spAutoFit/>
          </a:bodyPr>
          <a:lstStyle>
            <a:lvl1pPr>
              <a:lnSpc>
                <a:spcPts val="3137"/>
              </a:lnSpc>
              <a:defRPr sz="2745">
                <a:solidFill>
                  <a:schemeClr val="tx1"/>
                </a:solidFill>
              </a:defRPr>
            </a:lvl1pPr>
          </a:lstStyle>
          <a:p>
            <a:r>
              <a:rPr lang="en-US"/>
              <a:t>Device layout 3</a:t>
            </a:r>
          </a:p>
        </p:txBody>
      </p:sp>
    </p:spTree>
    <p:extLst>
      <p:ext uri="{BB962C8B-B14F-4D97-AF65-F5344CB8AC3E}">
        <p14:creationId xmlns:p14="http://schemas.microsoft.com/office/powerpoint/2010/main" val="2450743587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layout: three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C74E6E5-9DAD-4A14-9C20-D9F9150874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Graphic layout: three columns graphic an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B052D15-67DF-4845-863F-FEC853640A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4927922"/>
            <a:ext cx="3627659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5ECD4C7-D870-4003-9FA8-85EBBED879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2" y="4927922"/>
            <a:ext cx="362305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A9BECBA-B2CC-4EE6-B54E-9ADB03EB25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4927922"/>
            <a:ext cx="3635502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81179538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E89C1FB2-6B75-46E5-9AA1-5BE3945FCA2E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0095950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E4895D9-8662-4A4F-98D4-0B8BC8B959B8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7589143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06A51A04-EF84-4B1B-9E21-8F15035DF979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703152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43B8BCD-6F06-40DF-87F8-4F41465EAE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F0A7C2-12B9-4AF8-A7F5-DFD4E93065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299391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photo and til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B4B7B0A-C47C-4230-854E-5A6B85186F71}"/>
              </a:ext>
            </a:extLst>
          </p:cNvPr>
          <p:cNvSpPr/>
          <p:nvPr userDrawn="1"/>
        </p:nvSpPr>
        <p:spPr>
          <a:xfrm>
            <a:off x="0" y="1"/>
            <a:ext cx="12190271" cy="6857999"/>
          </a:xfrm>
          <a:prstGeom prst="rect">
            <a:avLst/>
          </a:prstGeom>
          <a:solidFill>
            <a:srgbClr val="000000">
              <a:alpha val="40000"/>
            </a:srgbClr>
          </a:solidFill>
        </p:spPr>
        <p:txBody>
          <a:bodyPr wrap="square" rtlCol="0" anchor="ctr">
            <a:noAutofit/>
          </a:bodyPr>
          <a:lstStyle/>
          <a:p>
            <a:pPr defTabSz="932563">
              <a:defRPr/>
            </a:pPr>
            <a:endParaRPr lang="en-US" sz="2000" b="1">
              <a:solidFill>
                <a:srgbClr val="2F2F2F"/>
              </a:solidFill>
              <a:latin typeface="Segoe UI" panose="020B05020402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648455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800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773828"/>
            <a:ext cx="6276530" cy="553998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53884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6" y="0"/>
            <a:ext cx="1219112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881923"/>
            <a:ext cx="7454644" cy="2649187"/>
          </a:xfrm>
          <a:noFill/>
        </p:spPr>
        <p:txBody>
          <a:bodyPr wrap="square" lIns="0" tIns="0" rIns="0" bIns="0" anchor="t" anchorCtr="0">
            <a:noAutofit/>
          </a:bodyPr>
          <a:lstStyle>
            <a:lvl1pPr>
              <a:lnSpc>
                <a:spcPts val="5489"/>
              </a:lnSpc>
              <a:defRPr sz="5293" spc="-147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485154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ck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0620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EBDF1DC1-6319-E742-86BB-EE3D80CF11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4" y="1108104"/>
            <a:ext cx="11018520" cy="307777"/>
          </a:xfrm>
        </p:spPr>
        <p:txBody>
          <a:bodyPr/>
          <a:lstStyle>
            <a:lvl1pPr marL="0" indent="0">
              <a:buNone/>
              <a:defRPr sz="2000" b="1" i="0">
                <a:solidFill>
                  <a:schemeClr val="accent3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146384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5802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209277433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9306" y="1187646"/>
            <a:ext cx="11655078" cy="16127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369666" y="6567184"/>
            <a:ext cx="3452676" cy="157864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26" b="0" spc="147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036058236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hoto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1CE2F71-BF91-4E7B-BDE5-A747EFEFF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9384" y="2122072"/>
            <a:ext cx="5553007" cy="2374698"/>
          </a:xfrm>
        </p:spPr>
        <p:txBody>
          <a:bodyPr wrap="square" lIns="0" tIns="0" rIns="0" bIns="0">
            <a:noAutofit/>
          </a:bodyPr>
          <a:lstStyle>
            <a:lvl1pPr marL="0" marR="0" indent="0" algn="l" defTabSz="914192" rtl="0" eaLnBrk="1" fontAlgn="auto" latinLnBrk="0" hangingPunct="1">
              <a:lnSpc>
                <a:spcPct val="100000"/>
              </a:lnSpc>
              <a:spcBef>
                <a:spcPts val="1961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549" b="0" i="0">
                <a:solidFill>
                  <a:srgbClr val="000000"/>
                </a:solidFill>
                <a:latin typeface="+mn-lt"/>
              </a:defRPr>
            </a:lvl1pPr>
            <a:lvl2pPr marL="224054" marR="0" indent="0" algn="l" defTabSz="91419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lvl2pPr>
            <a:lvl3pPr marL="448107" indent="0">
              <a:buNone/>
              <a:defRPr/>
            </a:lvl3pPr>
            <a:lvl4pPr marL="672161" indent="0">
              <a:buNone/>
              <a:defRPr/>
            </a:lvl4pPr>
            <a:lvl5pPr marL="896214" indent="0">
              <a:buNone/>
              <a:defRPr/>
            </a:lvl5pPr>
          </a:lstStyle>
          <a:p>
            <a:pPr lvl="0"/>
            <a:r>
              <a:rPr lang="pt-BR"/>
              <a:t>Subhead Segoe UI 26</a:t>
            </a:r>
          </a:p>
          <a:p>
            <a:pPr lvl="0"/>
            <a:r>
              <a:rPr lang="pt-BR"/>
              <a:t>Subhead Segoe UI 26</a:t>
            </a:r>
          </a:p>
          <a:p>
            <a:pPr lvl="0"/>
            <a:r>
              <a:rPr lang="pt-BR"/>
              <a:t>Subhead Segoe UI 26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E187AA-EF04-4AB1-BC58-089B2A33C5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9384" y="438786"/>
            <a:ext cx="5553007" cy="74105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Photo layout 1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A12A0E8-1E58-4A65-BA42-BEF0F69D25C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09611" y="2"/>
            <a:ext cx="5982390" cy="68580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>
            <a:noAutofit/>
          </a:bodyPr>
          <a:lstStyle>
            <a:lvl1pPr marL="0" indent="0" algn="ctr">
              <a:buNone/>
              <a:defRPr sz="1961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1603676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-i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MS logo gray - EMF" descr="Microsoft logo, gray text version">
            <a:extLst>
              <a:ext uri="{FF2B5EF4-FFF2-40B4-BE49-F238E27FC236}">
                <a16:creationId xmlns:a16="http://schemas.microsoft.com/office/drawing/2014/main" id="{8804C2B3-3878-4889-940D-3F3386B945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6080"/>
            <a:ext cx="1366440" cy="292608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8B2E4F62-54DC-4435-AA29-18599C177284}"/>
              </a:ext>
            </a:extLst>
          </p:cNvPr>
          <p:cNvSpPr/>
          <p:nvPr userDrawn="1"/>
        </p:nvSpPr>
        <p:spPr bwMode="gray">
          <a:xfrm>
            <a:off x="293044" y="1170431"/>
            <a:ext cx="11604624" cy="5393881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6FAD87F-DBF5-4E2F-A61B-3CCEC5C7D0B9}"/>
              </a:ext>
            </a:extLst>
          </p:cNvPr>
          <p:cNvGrpSpPr/>
          <p:nvPr userDrawn="1"/>
        </p:nvGrpSpPr>
        <p:grpSpPr bwMode="ltGray">
          <a:xfrm>
            <a:off x="8710812" y="1771650"/>
            <a:ext cx="3481189" cy="4196081"/>
            <a:chOff x="8710812" y="1771650"/>
            <a:chExt cx="3481189" cy="4196081"/>
          </a:xfrm>
        </p:grpSpPr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6B0365F1-E7DF-4958-962E-9FFD3A39414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3720628"/>
              <a:ext cx="531187" cy="974975"/>
            </a:xfrm>
            <a:custGeom>
              <a:avLst/>
              <a:gdLst>
                <a:gd name="T0" fmla="*/ 547 w 547"/>
                <a:gd name="T1" fmla="*/ 704 h 1004"/>
                <a:gd name="T2" fmla="*/ 0 w 547"/>
                <a:gd name="T3" fmla="*/ 1004 h 1004"/>
                <a:gd name="T4" fmla="*/ 0 w 547"/>
                <a:gd name="T5" fmla="*/ 300 h 1004"/>
                <a:gd name="T6" fmla="*/ 547 w 547"/>
                <a:gd name="T7" fmla="*/ 0 h 1004"/>
                <a:gd name="T8" fmla="*/ 547 w 547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4"/>
                  </a:moveTo>
                  <a:lnTo>
                    <a:pt x="0" y="1004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4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39253E4C-431D-4257-8CC7-C1456CD2F32D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8040" y="3720628"/>
              <a:ext cx="532157" cy="974975"/>
            </a:xfrm>
            <a:custGeom>
              <a:avLst/>
              <a:gdLst>
                <a:gd name="T0" fmla="*/ 0 w 548"/>
                <a:gd name="T1" fmla="*/ 704 h 1004"/>
                <a:gd name="T2" fmla="*/ 548 w 548"/>
                <a:gd name="T3" fmla="*/ 1004 h 1004"/>
                <a:gd name="T4" fmla="*/ 548 w 548"/>
                <a:gd name="T5" fmla="*/ 300 h 1004"/>
                <a:gd name="T6" fmla="*/ 0 w 548"/>
                <a:gd name="T7" fmla="*/ 0 h 1004"/>
                <a:gd name="T8" fmla="*/ 0 w 548"/>
                <a:gd name="T9" fmla="*/ 704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4"/>
                  </a:moveTo>
                  <a:lnTo>
                    <a:pt x="548" y="1004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4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7">
              <a:extLst>
                <a:ext uri="{FF2B5EF4-FFF2-40B4-BE49-F238E27FC236}">
                  <a16:creationId xmlns:a16="http://schemas.microsoft.com/office/drawing/2014/main" id="{E928826C-9C74-4194-A556-98EC9A96F6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6854" y="4404276"/>
              <a:ext cx="1063344" cy="586538"/>
            </a:xfrm>
            <a:custGeom>
              <a:avLst/>
              <a:gdLst>
                <a:gd name="T0" fmla="*/ 547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7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7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7ACB5DE1-DAC6-4C99-B2CC-0EB12CE0D5F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5D630C8B-3A7C-4321-A3EF-B1D0A698F7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42969" y="2748567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2A590461-2675-4E4A-B9BB-BF5471E8953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10812" y="3434156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48EAECFD-0CA3-492F-BA94-22EF6EB2205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2748567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2">
              <a:extLst>
                <a:ext uri="{FF2B5EF4-FFF2-40B4-BE49-F238E27FC236}">
                  <a16:creationId xmlns:a16="http://schemas.microsoft.com/office/drawing/2014/main" id="{62FFEC32-2F2F-43F4-9C21-7F15A26966A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773185" y="3434157"/>
              <a:ext cx="1063345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  <a:gd name="connsiteX0" fmla="*/ 5005 w 10000"/>
                <a:gd name="connsiteY0" fmla="*/ 0 h 10000"/>
                <a:gd name="connsiteX1" fmla="*/ 0 w 10000"/>
                <a:gd name="connsiteY1" fmla="*/ 4967 h 10000"/>
                <a:gd name="connsiteX2" fmla="*/ 5048 w 10000"/>
                <a:gd name="connsiteY2" fmla="*/ 10000 h 10000"/>
                <a:gd name="connsiteX3" fmla="*/ 10000 w 10000"/>
                <a:gd name="connsiteY3" fmla="*/ 4967 h 10000"/>
                <a:gd name="connsiteX4" fmla="*/ 5005 w 10000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000">
                  <a:moveTo>
                    <a:pt x="5005" y="0"/>
                  </a:moveTo>
                  <a:lnTo>
                    <a:pt x="0" y="4967"/>
                  </a:lnTo>
                  <a:lnTo>
                    <a:pt x="5048" y="10000"/>
                  </a:lnTo>
                  <a:lnTo>
                    <a:pt x="10000" y="4967"/>
                  </a:lnTo>
                  <a:lnTo>
                    <a:pt x="5005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">
              <a:extLst>
                <a:ext uri="{FF2B5EF4-FFF2-40B4-BE49-F238E27FC236}">
                  <a16:creationId xmlns:a16="http://schemas.microsoft.com/office/drawing/2014/main" id="{647709D2-F4CC-4414-B183-427A6D2A22A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1823" y="2748566"/>
              <a:ext cx="534332" cy="982635"/>
            </a:xfrm>
            <a:custGeom>
              <a:avLst/>
              <a:gdLst>
                <a:gd name="T0" fmla="*/ 0 w 548"/>
                <a:gd name="T1" fmla="*/ 706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6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72928ABA-DF2E-4C8E-B194-7FA528229810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3616" y="3434158"/>
              <a:ext cx="1060195" cy="586539"/>
            </a:xfrm>
            <a:custGeom>
              <a:avLst/>
              <a:gdLst>
                <a:gd name="T0" fmla="*/ 548 w 1096"/>
                <a:gd name="T1" fmla="*/ 0 h 604"/>
                <a:gd name="T2" fmla="*/ 0 w 1096"/>
                <a:gd name="T3" fmla="*/ 300 h 604"/>
                <a:gd name="T4" fmla="*/ 560 w 1096"/>
                <a:gd name="T5" fmla="*/ 604 h 604"/>
                <a:gd name="T6" fmla="*/ 1096 w 1096"/>
                <a:gd name="T7" fmla="*/ 300 h 604"/>
                <a:gd name="T8" fmla="*/ 548 w 1096"/>
                <a:gd name="T9" fmla="*/ 0 h 604"/>
                <a:gd name="connsiteX0" fmla="*/ 5000 w 9956"/>
                <a:gd name="connsiteY0" fmla="*/ 0 h 10000"/>
                <a:gd name="connsiteX1" fmla="*/ 0 w 9956"/>
                <a:gd name="connsiteY1" fmla="*/ 4967 h 10000"/>
                <a:gd name="connsiteX2" fmla="*/ 5109 w 9956"/>
                <a:gd name="connsiteY2" fmla="*/ 10000 h 10000"/>
                <a:gd name="connsiteX3" fmla="*/ 9956 w 9956"/>
                <a:gd name="connsiteY3" fmla="*/ 4967 h 10000"/>
                <a:gd name="connsiteX4" fmla="*/ 5000 w 9956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956" h="10000">
                  <a:moveTo>
                    <a:pt x="5000" y="0"/>
                  </a:moveTo>
                  <a:lnTo>
                    <a:pt x="0" y="4967"/>
                  </a:lnTo>
                  <a:lnTo>
                    <a:pt x="5109" y="10000"/>
                  </a:lnTo>
                  <a:lnTo>
                    <a:pt x="9956" y="4967"/>
                  </a:lnTo>
                  <a:lnTo>
                    <a:pt x="5000" y="0"/>
                  </a:lnTo>
                  <a:close/>
                </a:path>
              </a:pathLst>
            </a:custGeom>
            <a:solidFill>
              <a:srgbClr val="303030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id="{5A52C6C9-8220-4E26-B41D-1AA4F49DF9B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1771650"/>
              <a:ext cx="532157" cy="976917"/>
            </a:xfrm>
            <a:custGeom>
              <a:avLst/>
              <a:gdLst>
                <a:gd name="T0" fmla="*/ 548 w 548"/>
                <a:gd name="T1" fmla="*/ 706 h 1006"/>
                <a:gd name="T2" fmla="*/ 0 w 548"/>
                <a:gd name="T3" fmla="*/ 1006 h 1006"/>
                <a:gd name="T4" fmla="*/ 0 w 548"/>
                <a:gd name="T5" fmla="*/ 300 h 1006"/>
                <a:gd name="T6" fmla="*/ 548 w 548"/>
                <a:gd name="T7" fmla="*/ 0 h 1006"/>
                <a:gd name="T8" fmla="*/ 548 w 548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548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8" y="0"/>
                  </a:lnTo>
                  <a:lnTo>
                    <a:pt x="548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id="{8548CD94-9B34-4B91-BB2B-8736861E89E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31673" y="1771650"/>
              <a:ext cx="531187" cy="976917"/>
            </a:xfrm>
            <a:custGeom>
              <a:avLst/>
              <a:gdLst>
                <a:gd name="T0" fmla="*/ 0 w 547"/>
                <a:gd name="T1" fmla="*/ 706 h 1006"/>
                <a:gd name="T2" fmla="*/ 547 w 547"/>
                <a:gd name="T3" fmla="*/ 1006 h 1006"/>
                <a:gd name="T4" fmla="*/ 547 w 547"/>
                <a:gd name="T5" fmla="*/ 300 h 1006"/>
                <a:gd name="T6" fmla="*/ 0 w 547"/>
                <a:gd name="T7" fmla="*/ 0 h 1006"/>
                <a:gd name="T8" fmla="*/ 0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0" y="706"/>
                  </a:moveTo>
                  <a:lnTo>
                    <a:pt x="547" y="1006"/>
                  </a:lnTo>
                  <a:lnTo>
                    <a:pt x="547" y="300"/>
                  </a:lnTo>
                  <a:lnTo>
                    <a:pt x="0" y="0"/>
                  </a:lnTo>
                  <a:lnTo>
                    <a:pt x="0" y="706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id="{CFFFDB94-105D-4570-A938-4AD7CE4AE78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299515" y="2457240"/>
              <a:ext cx="1063344" cy="586538"/>
            </a:xfrm>
            <a:custGeom>
              <a:avLst/>
              <a:gdLst>
                <a:gd name="T0" fmla="*/ 548 w 1095"/>
                <a:gd name="T1" fmla="*/ 0 h 604"/>
                <a:gd name="T2" fmla="*/ 0 w 1095"/>
                <a:gd name="T3" fmla="*/ 300 h 604"/>
                <a:gd name="T4" fmla="*/ 560 w 1095"/>
                <a:gd name="T5" fmla="*/ 604 h 604"/>
                <a:gd name="T6" fmla="*/ 1095 w 1095"/>
                <a:gd name="T7" fmla="*/ 300 h 604"/>
                <a:gd name="T8" fmla="*/ 548 w 1095"/>
                <a:gd name="T9" fmla="*/ 0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4">
                  <a:moveTo>
                    <a:pt x="548" y="0"/>
                  </a:moveTo>
                  <a:lnTo>
                    <a:pt x="0" y="300"/>
                  </a:lnTo>
                  <a:lnTo>
                    <a:pt x="560" y="604"/>
                  </a:lnTo>
                  <a:lnTo>
                    <a:pt x="1095" y="300"/>
                  </a:lnTo>
                  <a:lnTo>
                    <a:pt x="548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id="{AC2A78A9-4071-45DC-BAE8-1C643EDD9B01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1" y="1771650"/>
              <a:ext cx="531187" cy="976917"/>
            </a:xfrm>
            <a:custGeom>
              <a:avLst/>
              <a:gdLst>
                <a:gd name="T0" fmla="*/ 547 w 547"/>
                <a:gd name="T1" fmla="*/ 706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6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6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6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0EEF9B-FB8E-409B-A24F-BD7570B8820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895988" y="1771650"/>
              <a:ext cx="296013" cy="847641"/>
            </a:xfrm>
            <a:custGeom>
              <a:avLst/>
              <a:gdLst>
                <a:gd name="connsiteX0" fmla="*/ 0 w 296013"/>
                <a:gd name="connsiteY0" fmla="*/ 0 h 847641"/>
                <a:gd name="connsiteX1" fmla="*/ 296013 w 296013"/>
                <a:gd name="connsiteY1" fmla="*/ 162051 h 847641"/>
                <a:gd name="connsiteX2" fmla="*/ 296013 w 296013"/>
                <a:gd name="connsiteY2" fmla="*/ 847641 h 847641"/>
                <a:gd name="connsiteX3" fmla="*/ 0 w 296013"/>
                <a:gd name="connsiteY3" fmla="*/ 685590 h 84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6013" h="847641">
                  <a:moveTo>
                    <a:pt x="0" y="0"/>
                  </a:moveTo>
                  <a:lnTo>
                    <a:pt x="296013" y="162051"/>
                  </a:lnTo>
                  <a:lnTo>
                    <a:pt x="296013" y="847641"/>
                  </a:lnTo>
                  <a:lnTo>
                    <a:pt x="0" y="685590"/>
                  </a:lnTo>
                  <a:close/>
                </a:path>
              </a:pathLst>
            </a:custGeom>
            <a:solidFill>
              <a:srgbClr val="F37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390FC8DE-C4AD-4BD3-9506-276C17F0C33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1364800" y="2457240"/>
              <a:ext cx="827200" cy="593577"/>
            </a:xfrm>
            <a:custGeom>
              <a:avLst/>
              <a:gdLst>
                <a:gd name="connsiteX0" fmla="*/ 531141 w 827200"/>
                <a:gd name="connsiteY0" fmla="*/ 0 h 593577"/>
                <a:gd name="connsiteX1" fmla="*/ 827200 w 827200"/>
                <a:gd name="connsiteY1" fmla="*/ 162066 h 593577"/>
                <a:gd name="connsiteX2" fmla="*/ 827200 w 827200"/>
                <a:gd name="connsiteY2" fmla="*/ 425095 h 593577"/>
                <a:gd name="connsiteX3" fmla="*/ 529758 w 827200"/>
                <a:gd name="connsiteY3" fmla="*/ 593577 h 593577"/>
                <a:gd name="connsiteX4" fmla="*/ 0 w 827200"/>
                <a:gd name="connsiteY4" fmla="*/ 291334 h 593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27200" h="593577">
                  <a:moveTo>
                    <a:pt x="531141" y="0"/>
                  </a:moveTo>
                  <a:lnTo>
                    <a:pt x="827200" y="162066"/>
                  </a:lnTo>
                  <a:lnTo>
                    <a:pt x="827200" y="425095"/>
                  </a:lnTo>
                  <a:lnTo>
                    <a:pt x="529758" y="593577"/>
                  </a:lnTo>
                  <a:lnTo>
                    <a:pt x="0" y="291334"/>
                  </a:lnTo>
                  <a:close/>
                </a:path>
              </a:pathLst>
            </a:custGeom>
            <a:solidFill>
              <a:srgbClr val="303030"/>
            </a:solidFill>
            <a:ln w="9525">
              <a:solidFill>
                <a:srgbClr val="303030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/>
            </a:p>
          </p:txBody>
        </p:sp>
        <p:sp>
          <p:nvSpPr>
            <p:cNvPr id="48" name="Freeform 21">
              <a:extLst>
                <a:ext uri="{FF2B5EF4-FFF2-40B4-BE49-F238E27FC236}">
                  <a16:creationId xmlns:a16="http://schemas.microsoft.com/office/drawing/2014/main" id="{77297A5A-69AC-4DF4-95F9-A09D48D814E3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4400391"/>
              <a:ext cx="531187" cy="976917"/>
            </a:xfrm>
            <a:custGeom>
              <a:avLst/>
              <a:gdLst>
                <a:gd name="T0" fmla="*/ 547 w 547"/>
                <a:gd name="T1" fmla="*/ 707 h 1006"/>
                <a:gd name="T2" fmla="*/ 0 w 547"/>
                <a:gd name="T3" fmla="*/ 1006 h 1006"/>
                <a:gd name="T4" fmla="*/ 0 w 547"/>
                <a:gd name="T5" fmla="*/ 300 h 1006"/>
                <a:gd name="T6" fmla="*/ 547 w 547"/>
                <a:gd name="T7" fmla="*/ 0 h 1006"/>
                <a:gd name="T8" fmla="*/ 547 w 547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6">
                  <a:moveTo>
                    <a:pt x="547" y="707"/>
                  </a:moveTo>
                  <a:lnTo>
                    <a:pt x="0" y="1006"/>
                  </a:lnTo>
                  <a:lnTo>
                    <a:pt x="0" y="300"/>
                  </a:lnTo>
                  <a:lnTo>
                    <a:pt x="547" y="0"/>
                  </a:lnTo>
                  <a:lnTo>
                    <a:pt x="547" y="707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2">
              <a:extLst>
                <a:ext uri="{FF2B5EF4-FFF2-40B4-BE49-F238E27FC236}">
                  <a16:creationId xmlns:a16="http://schemas.microsoft.com/office/drawing/2014/main" id="{E65087DC-7AC8-4AA7-9010-A067ADE1CF79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847210" y="4400391"/>
              <a:ext cx="532157" cy="976917"/>
            </a:xfrm>
            <a:custGeom>
              <a:avLst/>
              <a:gdLst>
                <a:gd name="T0" fmla="*/ 0 w 548"/>
                <a:gd name="T1" fmla="*/ 707 h 1006"/>
                <a:gd name="T2" fmla="*/ 548 w 548"/>
                <a:gd name="T3" fmla="*/ 1006 h 1006"/>
                <a:gd name="T4" fmla="*/ 548 w 548"/>
                <a:gd name="T5" fmla="*/ 300 h 1006"/>
                <a:gd name="T6" fmla="*/ 0 w 548"/>
                <a:gd name="T7" fmla="*/ 0 h 1006"/>
                <a:gd name="T8" fmla="*/ 0 w 548"/>
                <a:gd name="T9" fmla="*/ 707 h 10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6">
                  <a:moveTo>
                    <a:pt x="0" y="707"/>
                  </a:moveTo>
                  <a:lnTo>
                    <a:pt x="548" y="1006"/>
                  </a:lnTo>
                  <a:lnTo>
                    <a:pt x="548" y="300"/>
                  </a:lnTo>
                  <a:lnTo>
                    <a:pt x="0" y="0"/>
                  </a:lnTo>
                  <a:lnTo>
                    <a:pt x="0" y="707"/>
                  </a:lnTo>
                  <a:close/>
                </a:path>
              </a:pathLst>
            </a:custGeom>
            <a:solidFill>
              <a:srgbClr val="B9B9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3B4C2EBB-4C89-4380-A5E7-A7BD40C2B90E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0316024" y="5086952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0D7CD4FA-6D18-4E1F-9C7D-91AA2E32B2BC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4697545"/>
              <a:ext cx="531187" cy="974975"/>
            </a:xfrm>
            <a:custGeom>
              <a:avLst/>
              <a:gdLst>
                <a:gd name="T0" fmla="*/ 547 w 547"/>
                <a:gd name="T1" fmla="*/ 705 h 1004"/>
                <a:gd name="T2" fmla="*/ 0 w 547"/>
                <a:gd name="T3" fmla="*/ 1004 h 1004"/>
                <a:gd name="T4" fmla="*/ 0 w 547"/>
                <a:gd name="T5" fmla="*/ 298 h 1004"/>
                <a:gd name="T6" fmla="*/ 547 w 547"/>
                <a:gd name="T7" fmla="*/ 0 h 1004"/>
                <a:gd name="T8" fmla="*/ 547 w 547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7" h="1004">
                  <a:moveTo>
                    <a:pt x="547" y="705"/>
                  </a:moveTo>
                  <a:lnTo>
                    <a:pt x="0" y="1004"/>
                  </a:lnTo>
                  <a:lnTo>
                    <a:pt x="0" y="298"/>
                  </a:lnTo>
                  <a:lnTo>
                    <a:pt x="547" y="0"/>
                  </a:lnTo>
                  <a:lnTo>
                    <a:pt x="547" y="705"/>
                  </a:lnTo>
                  <a:close/>
                </a:path>
              </a:pathLst>
            </a:cu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5">
              <a:extLst>
                <a:ext uri="{FF2B5EF4-FFF2-40B4-BE49-F238E27FC236}">
                  <a16:creationId xmlns:a16="http://schemas.microsoft.com/office/drawing/2014/main" id="{5D06D6BE-8F81-4F1F-9E44-429E129C195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9251709" y="4697545"/>
              <a:ext cx="532157" cy="974975"/>
            </a:xfrm>
            <a:custGeom>
              <a:avLst/>
              <a:gdLst>
                <a:gd name="T0" fmla="*/ 0 w 548"/>
                <a:gd name="T1" fmla="*/ 705 h 1004"/>
                <a:gd name="T2" fmla="*/ 548 w 548"/>
                <a:gd name="T3" fmla="*/ 1004 h 1004"/>
                <a:gd name="T4" fmla="*/ 548 w 548"/>
                <a:gd name="T5" fmla="*/ 298 h 1004"/>
                <a:gd name="T6" fmla="*/ 0 w 548"/>
                <a:gd name="T7" fmla="*/ 0 h 1004"/>
                <a:gd name="T8" fmla="*/ 0 w 548"/>
                <a:gd name="T9" fmla="*/ 70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8" h="1004">
                  <a:moveTo>
                    <a:pt x="0" y="705"/>
                  </a:moveTo>
                  <a:lnTo>
                    <a:pt x="548" y="1004"/>
                  </a:lnTo>
                  <a:lnTo>
                    <a:pt x="548" y="298"/>
                  </a:lnTo>
                  <a:lnTo>
                    <a:pt x="0" y="0"/>
                  </a:lnTo>
                  <a:lnTo>
                    <a:pt x="0" y="705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6">
              <a:extLst>
                <a:ext uri="{FF2B5EF4-FFF2-40B4-BE49-F238E27FC236}">
                  <a16:creationId xmlns:a16="http://schemas.microsoft.com/office/drawing/2014/main" id="{3F7CF64D-F067-41E4-8D9F-41FF38972828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8720523" y="5382163"/>
              <a:ext cx="1063344" cy="585568"/>
            </a:xfrm>
            <a:custGeom>
              <a:avLst/>
              <a:gdLst>
                <a:gd name="T0" fmla="*/ 547 w 1095"/>
                <a:gd name="T1" fmla="*/ 0 h 603"/>
                <a:gd name="T2" fmla="*/ 0 w 1095"/>
                <a:gd name="T3" fmla="*/ 299 h 603"/>
                <a:gd name="T4" fmla="*/ 560 w 1095"/>
                <a:gd name="T5" fmla="*/ 603 h 603"/>
                <a:gd name="T6" fmla="*/ 1095 w 1095"/>
                <a:gd name="T7" fmla="*/ 299 h 603"/>
                <a:gd name="T8" fmla="*/ 547 w 1095"/>
                <a:gd name="T9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95" h="603">
                  <a:moveTo>
                    <a:pt x="547" y="0"/>
                  </a:moveTo>
                  <a:lnTo>
                    <a:pt x="0" y="299"/>
                  </a:lnTo>
                  <a:lnTo>
                    <a:pt x="560" y="603"/>
                  </a:lnTo>
                  <a:lnTo>
                    <a:pt x="1095" y="299"/>
                  </a:lnTo>
                  <a:lnTo>
                    <a:pt x="547" y="0"/>
                  </a:lnTo>
                  <a:close/>
                </a:path>
              </a:pathLst>
            </a:custGeom>
            <a:solidFill>
              <a:srgbClr val="30303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Rectangle 53">
            <a:extLst>
              <a:ext uri="{FF2B5EF4-FFF2-40B4-BE49-F238E27FC236}">
                <a16:creationId xmlns:a16="http://schemas.microsoft.com/office/drawing/2014/main" id="{4899085C-4B16-41A5-A2CB-5D4798A0322E}"/>
              </a:ext>
            </a:extLst>
          </p:cNvPr>
          <p:cNvSpPr/>
          <p:nvPr userDrawn="1"/>
        </p:nvSpPr>
        <p:spPr bwMode="white">
          <a:xfrm>
            <a:off x="5791479" y="3074916"/>
            <a:ext cx="2321486" cy="140551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Learn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Connect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0" i="0" u="none" strike="noStrike" kern="1200" cap="none" normalizeH="0" baseline="0" noProof="0">
                <a:ln w="3175">
                  <a:noFill/>
                </a:ln>
                <a:gradFill>
                  <a:gsLst>
                    <a:gs pos="14801">
                      <a:schemeClr val="bg1"/>
                    </a:gs>
                    <a:gs pos="75000">
                      <a:schemeClr val="bg1"/>
                    </a:gs>
                  </a:gsLst>
                  <a:lin ang="5400000" scaled="1"/>
                </a:gradFill>
                <a:effectLst/>
                <a:uLnTx/>
                <a:uFillTx/>
                <a:latin typeface="Segoe UI Semibold"/>
                <a:ea typeface="+mn-ea"/>
                <a:cs typeface="Segoe UI" pitchFamily="34" charset="0"/>
              </a:rPr>
              <a:t>Explore.</a:t>
            </a:r>
          </a:p>
        </p:txBody>
      </p:sp>
      <p:pic>
        <p:nvPicPr>
          <p:cNvPr id="55" name="Graphic 54">
            <a:extLst>
              <a:ext uri="{FF2B5EF4-FFF2-40B4-BE49-F238E27FC236}">
                <a16:creationId xmlns:a16="http://schemas.microsoft.com/office/drawing/2014/main" id="{CF5E403F-D2DC-4030-8392-9E3E0A38A1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white">
          <a:xfrm>
            <a:off x="1174192" y="3183752"/>
            <a:ext cx="2712307" cy="1367241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4144391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DC08157-A48C-4ACA-A5BB-EE2A866E10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2" y="2979539"/>
            <a:ext cx="5943600" cy="553998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1" y="3962400"/>
            <a:ext cx="59436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F4249-981E-4054-9F37-C6C7DFAB38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17757" y="585788"/>
            <a:ext cx="2691631" cy="276999"/>
          </a:xfrm>
          <a:solidFill>
            <a:srgbClr val="E6E6E6">
              <a:alpha val="75000"/>
            </a:srgbClr>
          </a:solidFill>
        </p:spPr>
        <p:txBody>
          <a:bodyPr/>
          <a:lstStyle>
            <a:lvl1pPr marL="0" marR="0" indent="0" algn="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800" kern="1200" spc="0" baseline="0" dirty="0">
                <a:gradFill>
                  <a:gsLst>
                    <a:gs pos="23466">
                      <a:schemeClr val="bg2">
                        <a:lumMod val="50000"/>
                      </a:schemeClr>
                    </a:gs>
                    <a:gs pos="56000">
                      <a:schemeClr val="bg2">
                        <a:lumMod val="50000"/>
                      </a:schemeClr>
                    </a:gs>
                  </a:gsLst>
                  <a:lin ang="5400000" scaled="0"/>
                </a:gradFill>
                <a:latin typeface="+mj-lt"/>
                <a:ea typeface="+mn-ea"/>
                <a:cs typeface="Segoe UI Semilight" panose="020B0402040204020203" pitchFamily="34" charset="0"/>
              </a:defRPr>
            </a:lvl1pPr>
          </a:lstStyle>
          <a:p>
            <a:pPr lvl="0"/>
            <a:r>
              <a:rPr lang="en-US">
                <a:latin typeface="+mj-lt"/>
              </a:rPr>
              <a:t>Session code here</a:t>
            </a:r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CBAFEF-FDA0-4148-B6F8-D1D9029A0218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9BE868E-A240-4959-BD66-6BC44EE5A4A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1DDB4654-32A2-47CE-B324-C597C756E402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218BE353-242E-4429-9D4C-1D50CEEC277C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B2B25198-469F-44A8-946B-689A24DC3C72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5460766-0EE4-4C99-BD2E-1BAD7FD9C3AC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FBC909F-DC50-4DDC-91C9-2509E0F5633F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0DC1718-52A4-4705-AE14-45A352ACBC2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D51C16AF-F6FA-4CD2-B0A5-3663CD02799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3A105041-F999-49D6-BE4B-7630F1204F6C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C190B08C-67D4-4DAD-8158-2B4D4A1318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743F7B37-FD03-4D73-932B-77D49AB6A515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F01A60D-F904-4399-87EA-23E33C45969F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D450C50C-26FC-42C5-BA39-AE97627B772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B88924B0-E78A-4770-AF30-C78056E7AAAB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D8AB0228-AC44-413D-A029-1BBF7B18CBCC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89C067BE-7550-4D8F-9A42-B78AB594CD54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54D97435-6932-4E2A-A217-DEA06FDA510A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FF9C9FB6-79F2-41F1-872D-2184B91C8E00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4577AEC4-9502-4D2D-B373-2F1CB4EFF9B8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13EA48F-163A-410A-8C97-A08AA1B2EE50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3E1E199B-B230-4884-9F60-9B781B11B8FF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FB98E4A3-2599-4DEB-8ECC-F004500FBF6A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6B74F55-4583-4B26-A4E0-71C00B14AFF6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4D1900-D812-4B27-AC50-B2795AD953C3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483ECFC2-9749-4525-973B-EAA0BC0FC62B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A3ABF7E-B2D4-4B7A-9B6E-0EB3223E4EE4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79039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84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6390" y="1434370"/>
            <a:ext cx="11018520" cy="230832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9539213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EE839EA-FF23-4CBD-929F-3FEE65F9DA6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F0A7C2-12B9-4AF8-A7F5-DFD4E93065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077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84200" y="1435497"/>
            <a:ext cx="11018520" cy="23083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669309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97171" y="1435100"/>
            <a:ext cx="5212080" cy="1649682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255588" indent="0">
              <a:buFont typeface="Wingdings" panose="05000000000000000000" pitchFamily="2" charset="2"/>
              <a:buNone/>
              <a:defRPr sz="2000" b="0"/>
            </a:lvl2pPr>
            <a:lvl3pPr marL="450850" indent="0">
              <a:buFont typeface="Wingdings" panose="05000000000000000000" pitchFamily="2" charset="2"/>
              <a:buNone/>
              <a:tabLst/>
              <a:defRPr sz="1600" b="0"/>
            </a:lvl3pPr>
            <a:lvl4pPr marL="652462" indent="0">
              <a:buFont typeface="Wingdings" panose="05000000000000000000" pitchFamily="2" charset="2"/>
              <a:buNone/>
              <a:defRPr sz="1400" b="0"/>
            </a:lvl4pPr>
            <a:lvl5pPr marL="854075" indent="0">
              <a:buFont typeface="Wingdings" panose="05000000000000000000" pitchFamily="2" charset="2"/>
              <a:buNone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42164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84200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5278796-7B84-4D67-88CD-BF78BB06D21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9914" y="1437481"/>
            <a:ext cx="5212080" cy="1649682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2800" b="0"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0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1600" b="0"/>
            </a:lvl3pPr>
            <a:lvl4pPr marL="828675" indent="-176213">
              <a:buFont typeface="Wingdings" panose="05000000000000000000" pitchFamily="2" charset="2"/>
              <a:buChar char=""/>
              <a:defRPr sz="14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1400" b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615030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0749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00140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72410"/>
          </a:xfrm>
        </p:spPr>
        <p:txBody>
          <a:bodyPr tIns="64008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671642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" name="Group 54">
            <a:extLst>
              <a:ext uri="{FF2B5EF4-FFF2-40B4-BE49-F238E27FC236}">
                <a16:creationId xmlns:a16="http://schemas.microsoft.com/office/drawing/2014/main" id="{200F7B6E-608C-4712-A939-BEBE059E295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6DC5E8A2-8275-4F90-BA55-9B66D81C4A9F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C563208-4732-48A3-81E6-533A2E2DD53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DD0ADC22-C4D5-4BE8-99A8-91566ADDBF5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91C4D457-0F93-4853-AB02-01C200DE6658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E8D605B0-4DEE-4101-AC83-CD1D15D14DB9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EF14ED5-2275-4C01-96DD-1D24FE9FD6EE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F31E8C76-6A67-4E1C-BCC4-8D2ABCC0212A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ABDD9FA-82C7-4E69-9895-354AD0BDD19E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A7CD18E-2839-44B2-9BA7-6356529D686A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0B7E64CE-434E-410A-823C-4872E71DD278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0D92AA81-D52A-4877-AE2C-AB5B4D374D19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BE84D11A-0DE4-40A8-BB80-889FF30CCE03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80E0B5D-2F12-4C6E-92C5-3765C579ADE8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765DAB00-242D-4D78-B6BF-F678C14B519F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824698C-3D67-4D42-9DE6-531F5A0C7EA3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99246CD-F05A-4044-B7A4-384A7B272509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6930CAB-4305-4191-AD01-9D22AAD264D9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7FBC50E9-9F0E-4D62-9AA6-DC145681D1EA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09610B7D-2856-472A-B98F-5684402C6C99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5173E078-D753-4C8F-98BB-75D0CBE314FE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EAA82456-62CD-4C42-91A4-3FFD8F19BCBD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1ABB687-FC0A-4A48-8466-BF8A1129E230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8EEA91BF-1A44-4FB0-92F0-23098E7BBFCD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11C6A8E-CEC6-4129-9FB2-A426C6CE84EB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205B8F1F-9F8A-42BF-8770-AEABCEC35D18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36EE7F2A-0858-47D2-B1D0-D33BCD933AB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BDBDBD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DF5D6DE-2629-4577-9B98-7A1666013D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1" y="2579648"/>
            <a:ext cx="3768898" cy="553998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1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Enter title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1" y="3535541"/>
            <a:ext cx="3769300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868688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59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9" pos="2993">
          <p15:clr>
            <a:srgbClr val="C35EA4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Group 29">
            <a:extLst>
              <a:ext uri="{FF2B5EF4-FFF2-40B4-BE49-F238E27FC236}">
                <a16:creationId xmlns:a16="http://schemas.microsoft.com/office/drawing/2014/main" id="{C39AAC9F-C8B8-422E-93FC-08A064104000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A09379AA-B540-4886-8794-46BA10F3D91B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9E5BC201-014B-48F5-BAC0-4FBBACCBF586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F72CD027-1ABE-4E4A-BE9E-EF73250F92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52C85D91-63CC-4FF7-A826-BE886CDB017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55C67E6-D930-403F-9550-70EC2A102AB5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BDB9C074-A5A6-4082-9FCD-D487FD8013E5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4E3D79EB-E5E0-4CA3-A7CE-50069CC73F19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42F892FB-2465-40CF-A81F-AC989DC09CE4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BADF38-50C7-4E4B-AA00-660BF4161C96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51B782C-38CF-4C16-8A55-9C1BEA5AF3F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61A234A0-3B09-4E85-880A-C885FBEE2401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B6516D46-39CD-420E-9263-03065B10F8F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6B28F64C-F49A-4F09-A9C2-8502680A64D7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AE00412-2C1C-4CAB-B1D4-B046A4B37C24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1030AB7-3DE7-407A-98DE-751351FCBFB5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074BD83-98DD-4084-9D1E-CDACFD005AFF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7C85498-5D07-457D-BA73-99E2EB50130B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3DF2CE11-90A6-43A8-B2DC-45295F10CB64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F65F154A-ABA1-4F9A-97F8-C50108DD1A97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4AC8DFE-7BB0-4D98-AA21-405DB4B06225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F39938CF-5CFF-4707-BBDD-DD19FA0A50F1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73332E5E-0308-4370-A841-A20570A69BDF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E46D602-7D42-411E-8BA6-6F74E13FE60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53F344C1-9929-4E86-BB1A-05E12D1570DF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6933AFD-19AA-49B8-BCF7-2D0EAA89273D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9FB75AC2-D122-402F-B448-B0118576BB4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3769475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body text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D9BE8EAA-F7ED-46CD-A31F-E4299C08F5A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016500" y="292100"/>
            <a:ext cx="6881813" cy="6272213"/>
          </a:xfrm>
          <a:blipFill>
            <a:blip r:embed="rId2"/>
            <a:stretch>
              <a:fillRect/>
            </a:stretch>
          </a:blipFill>
          <a:ln w="9525" cap="flat">
            <a:noFill/>
            <a:prstDash val="solid"/>
            <a:miter/>
          </a:ln>
          <a:effectLst>
            <a:outerShdw blurRad="508000" dist="63500" dir="2700000" sx="101000" sy="101000" algn="tl" rotWithShape="0">
              <a:prstClr val="black">
                <a:alpha val="33000"/>
              </a:prstClr>
            </a:outerShdw>
          </a:effectLst>
        </p:spPr>
        <p:txBody>
          <a:bodyPr tIns="1188720" anchor="ctr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lang="en-US" sz="1400" b="1" kern="1200" spc="0" baseline="0" dirty="0">
                <a:solidFill>
                  <a:srgbClr val="FFFFFF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</p:spTree>
    <p:extLst>
      <p:ext uri="{BB962C8B-B14F-4D97-AF65-F5344CB8AC3E}">
        <p14:creationId xmlns:p14="http://schemas.microsoft.com/office/powerpoint/2010/main" val="82571854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3223"/>
            <a:ext cx="6400800" cy="498598"/>
          </a:xfrm>
          <a:noFill/>
        </p:spPr>
        <p:txBody>
          <a:bodyPr wrap="square"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5216" y="3977319"/>
            <a:ext cx="6400800" cy="307777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3B08910-F1C3-47B2-8C69-1B107282064A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9FE7A031-B4AB-4071-98FF-24E766F9BB5C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6DC7067D-3957-4163-9442-C167A0A62168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D9AE235F-4F6C-4565-AADC-752626D64B90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EAADF52-7CC0-4715-8BAC-4186C7CE9B0C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AC140A-9DFB-45B7-82C2-CF25166A0D41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3436FDC7-3DF0-4E6A-B4A8-7EB4FF30AAF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D72FB5AA-3C69-4BB6-9C10-682E95EF1AAE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20321A7F-C5FC-4514-A3AC-41CC16FA85FD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B3C4B3CE-95D2-45A5-917E-A5389B118222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A5270AF0-DA91-4FF8-9B1C-35937E49D88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1B4AB4EC-0302-4902-B797-9B84C91FDE1B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941D13F-2DD6-4121-8220-CC08400DD382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B98F2381-17CE-4672-96D3-D3E4A8C1115A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6A42BAE-DCEA-4A1A-8779-E499D67DA7B9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8D7995E7-6761-41BA-BE88-30DD0DF70D22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4D7B6AA-459B-44CF-9930-A05720C41315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0EBE7D0E-F0D6-4EA3-A151-C26BF3138977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6" name="Straight Connector 75">
                <a:extLst>
                  <a:ext uri="{FF2B5EF4-FFF2-40B4-BE49-F238E27FC236}">
                    <a16:creationId xmlns:a16="http://schemas.microsoft.com/office/drawing/2014/main" id="{0118A379-1639-4C1C-9E5B-A39F1CD0A9D9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8DE972F-9FF1-4743-BF7F-15CC5403A6C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795596FA-D3B2-4953-81FC-9958337AF5DC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7D57090A-B887-4CA7-A022-90564F12A9A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F9749B2E-C284-42A2-A061-B635FBBBD461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A74F4CD-889D-4E91-AB27-CCB11E8677AE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6CE97AB5-F3D1-4D1A-8F2F-166F6F85A189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5281A29-9018-48AF-8B81-EB9F71FE5ABA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2B1B3F07-773E-4FC0-9A04-73F52683190E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77542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4867548-8B9A-436D-9AB6-D7EA0AC78267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298AA2D-C933-41C0-B3A0-5E1B5429C617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DE45CCA4-1611-4A15-8D76-0CD4304233D4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B20432D-F3B6-4212-B616-45AD62D0A8BA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CB285A8-E7EF-4B70-8B71-2D09BE26853D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D552378-B8A4-40F9-8A64-367F9EC304F0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6DED4FF8-FEAE-4CC0-8F5B-9FC2B47E5700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4DD2AD2-299E-4049-881B-2BC838B6DB02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430A103C-9EC8-479D-9AEA-2FA30D0B6831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FF762A67-8800-4EDC-ACA0-235237807007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0C1E21E3-4EFA-46DB-B62D-888B912FEC30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C90FB2C-AED4-45EF-B005-A6F9315E6638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69EFEACE-63D5-4DE9-AE7A-022D10CBBAD4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183FC86B-2504-437F-9155-736D3776FBC0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4BE281D9-0C46-4685-8A97-79D102C868ED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0B982782-C326-41A6-88DF-60D0069AAC1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C69C78E5-CDD7-45AD-9FAC-A193057F255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95E678CA-56AB-4822-8F79-1B384711F464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94D454C8-0C5D-4654-B977-447674D5459E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7FD26513-923A-4E4E-88AB-484CF7F390D1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5F3DAB6-E46E-498F-AC8D-245DB12E86FA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2FF22795-13BD-4A36-8B98-FAE4B2B95679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26E68192-BBC2-4E66-BC2E-A6F5E839A4EC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74CE4AB-E3EC-4485-A9DB-D3875DE15509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8D9197E-BD70-40A3-872D-2F635C47602A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DA35C218-6C8E-4E07-9EA7-15A37B43AD66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647F6A62-B1EC-420D-A385-9A9A03966E95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1893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1">
          <p15:clr>
            <a:srgbClr val="5ACBF0"/>
          </p15:clr>
        </p15:guide>
        <p15:guide id="3" orient="horz" pos="1914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36BD4F-5F2C-4D52-8D52-D8B40CDF73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F0A7C2-12B9-4AF8-A7F5-DFD4E93065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3264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6400800" cy="498598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BBF7881-8D09-4F22-B10B-0916A242A2CD}"/>
              </a:ext>
            </a:extLst>
          </p:cNvPr>
          <p:cNvGrpSpPr/>
          <p:nvPr userDrawn="1"/>
        </p:nvGrpSpPr>
        <p:grpSpPr bwMode="ltGray">
          <a:xfrm>
            <a:off x="6256117" y="-21839"/>
            <a:ext cx="5932086" cy="6890047"/>
            <a:chOff x="6256117" y="-21839"/>
            <a:chExt cx="5932086" cy="6890047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5B1D67C-D600-4009-9F96-DBD9F692B67A}"/>
                </a:ext>
              </a:extLst>
            </p:cNvPr>
            <p:cNvGrpSpPr/>
            <p:nvPr userDrawn="1"/>
          </p:nvGrpSpPr>
          <p:grpSpPr bwMode="ltGray">
            <a:xfrm>
              <a:off x="8507413" y="1457714"/>
              <a:ext cx="3680790" cy="5392441"/>
              <a:chOff x="8507413" y="1457714"/>
              <a:chExt cx="3680790" cy="5392441"/>
            </a:xfrm>
          </p:grpSpPr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589ED409-83AE-42D1-A29E-F5ACE1D5379C}"/>
                  </a:ext>
                </a:extLst>
              </p:cNvPr>
              <p:cNvSpPr/>
              <p:nvPr/>
            </p:nvSpPr>
            <p:spPr bwMode="ltGray">
              <a:xfrm>
                <a:off x="8507413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A47E83EE-C7AB-4851-AC1F-A2E965DE8A4F}"/>
                  </a:ext>
                </a:extLst>
              </p:cNvPr>
              <p:cNvSpPr/>
              <p:nvPr/>
            </p:nvSpPr>
            <p:spPr bwMode="ltGray">
              <a:xfrm>
                <a:off x="9241444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117874BE-F982-46B6-83B3-569DB8A26C11}"/>
                  </a:ext>
                </a:extLst>
              </p:cNvPr>
              <p:cNvSpPr/>
              <p:nvPr/>
            </p:nvSpPr>
            <p:spPr bwMode="ltGray">
              <a:xfrm>
                <a:off x="8507413" y="3747272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172B84FE-1FBD-4DB0-A1BB-1D393BABFD96}"/>
                  </a:ext>
                </a:extLst>
              </p:cNvPr>
              <p:cNvSpPr/>
              <p:nvPr/>
            </p:nvSpPr>
            <p:spPr bwMode="ltGray">
              <a:xfrm>
                <a:off x="8507413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8234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F0612185-AF46-47F9-B984-65C416463817}"/>
                  </a:ext>
                </a:extLst>
              </p:cNvPr>
              <p:cNvSpPr/>
              <p:nvPr/>
            </p:nvSpPr>
            <p:spPr bwMode="ltGray">
              <a:xfrm>
                <a:off x="9241444" y="5493257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8234"/>
                    </a:moveTo>
                    <a:lnTo>
                      <a:pt x="861536" y="1574959"/>
                    </a:lnTo>
                    <a:lnTo>
                      <a:pt x="861536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1F4FE628-8992-4D3C-9177-54650A419B37}"/>
                  </a:ext>
                </a:extLst>
              </p:cNvPr>
              <p:cNvSpPr/>
              <p:nvPr/>
            </p:nvSpPr>
            <p:spPr bwMode="ltGray">
              <a:xfrm>
                <a:off x="8513545" y="6444311"/>
                <a:ext cx="1467248" cy="400530"/>
              </a:xfrm>
              <a:custGeom>
                <a:avLst/>
                <a:gdLst>
                  <a:gd name="connsiteX0" fmla="*/ 855345 w 1709736"/>
                  <a:gd name="connsiteY0" fmla="*/ 934403 h 1040954"/>
                  <a:gd name="connsiteX1" fmla="*/ 1709737 w 1709736"/>
                  <a:gd name="connsiteY1" fmla="*/ 466725 h 1040954"/>
                  <a:gd name="connsiteX2" fmla="*/ 855345 w 1709736"/>
                  <a:gd name="connsiteY2" fmla="*/ 0 h 1040954"/>
                  <a:gd name="connsiteX3" fmla="*/ 0 w 1709736"/>
                  <a:gd name="connsiteY3" fmla="*/ 466725 h 1040954"/>
                  <a:gd name="connsiteX4" fmla="*/ 961897 w 1709736"/>
                  <a:gd name="connsiteY4" fmla="*/ 1040955 h 1040954"/>
                  <a:gd name="connsiteX0" fmla="*/ 855345 w 1709737"/>
                  <a:gd name="connsiteY0" fmla="*/ 934403 h 934403"/>
                  <a:gd name="connsiteX1" fmla="*/ 1709737 w 1709737"/>
                  <a:gd name="connsiteY1" fmla="*/ 466725 h 934403"/>
                  <a:gd name="connsiteX2" fmla="*/ 855345 w 1709737"/>
                  <a:gd name="connsiteY2" fmla="*/ 0 h 934403"/>
                  <a:gd name="connsiteX3" fmla="*/ 0 w 1709737"/>
                  <a:gd name="connsiteY3" fmla="*/ 466725 h 934403"/>
                  <a:gd name="connsiteX0" fmla="*/ 1709737 w 1709737"/>
                  <a:gd name="connsiteY0" fmla="*/ 466725 h 466725"/>
                  <a:gd name="connsiteX1" fmla="*/ 855345 w 1709737"/>
                  <a:gd name="connsiteY1" fmla="*/ 0 h 466725"/>
                  <a:gd name="connsiteX2" fmla="*/ 0 w 1709737"/>
                  <a:gd name="connsiteY2" fmla="*/ 466725 h 4667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7" h="466725">
                    <a:moveTo>
                      <a:pt x="1709737" y="466725"/>
                    </a:moveTo>
                    <a:lnTo>
                      <a:pt x="855345" y="0"/>
                    </a:lnTo>
                    <a:lnTo>
                      <a:pt x="0" y="466725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9EB1F0C1-51BC-433D-B643-499296AD9EB3}"/>
                  </a:ext>
                </a:extLst>
              </p:cNvPr>
              <p:cNvSpPr/>
              <p:nvPr/>
            </p:nvSpPr>
            <p:spPr bwMode="ltGray">
              <a:xfrm>
                <a:off x="9241444" y="4148621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006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1F95DA3E-A7A9-4898-8537-3057A04A80B1}"/>
                  </a:ext>
                </a:extLst>
              </p:cNvPr>
              <p:cNvSpPr/>
              <p:nvPr/>
            </p:nvSpPr>
            <p:spPr bwMode="ltGray">
              <a:xfrm>
                <a:off x="9974659" y="2803166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A0885F40-F98C-4749-AF50-8D882201C7B2}"/>
                  </a:ext>
                </a:extLst>
              </p:cNvPr>
              <p:cNvSpPr/>
              <p:nvPr/>
            </p:nvSpPr>
            <p:spPr bwMode="ltGray">
              <a:xfrm>
                <a:off x="9247573" y="3753404"/>
                <a:ext cx="2200463" cy="2147333"/>
              </a:xfrm>
              <a:custGeom>
                <a:avLst/>
                <a:gdLst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646487 w 2564131"/>
                  <a:gd name="connsiteY7" fmla="*/ 2000030 h 2502221"/>
                  <a:gd name="connsiteX8" fmla="*/ 854393 w 2564131"/>
                  <a:gd name="connsiteY8" fmla="*/ 1567818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715922 w 2564131"/>
                  <a:gd name="connsiteY7" fmla="*/ 2039087 h 2502221"/>
                  <a:gd name="connsiteX8" fmla="*/ 1139551 w 2564131"/>
                  <a:gd name="connsiteY8" fmla="*/ 1721386 h 2502221"/>
                  <a:gd name="connsiteX9" fmla="*/ 854393 w 2564131"/>
                  <a:gd name="connsiteY9" fmla="*/ 1567818 h 2502221"/>
                  <a:gd name="connsiteX10" fmla="*/ 854393 w 2564131"/>
                  <a:gd name="connsiteY10" fmla="*/ 467680 h 2502221"/>
                  <a:gd name="connsiteX11" fmla="*/ 1709739 w 2564131"/>
                  <a:gd name="connsiteY11" fmla="*/ 0 h 2502221"/>
                  <a:gd name="connsiteX12" fmla="*/ 2564131 w 2564131"/>
                  <a:gd name="connsiteY12" fmla="*/ 467677 h 2502221"/>
                  <a:gd name="connsiteX13" fmla="*/ 1709739 w 2564131"/>
                  <a:gd name="connsiteY13" fmla="*/ 934402 h 2502221"/>
                  <a:gd name="connsiteX14" fmla="*/ 854393 w 2564131"/>
                  <a:gd name="connsiteY14" fmla="*/ 467677 h 2502221"/>
                  <a:gd name="connsiteX15" fmla="*/ 1709739 w 2564131"/>
                  <a:gd name="connsiteY15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1139551 w 2564131"/>
                  <a:gd name="connsiteY7" fmla="*/ 1721386 h 2502221"/>
                  <a:gd name="connsiteX8" fmla="*/ 854393 w 2564131"/>
                  <a:gd name="connsiteY8" fmla="*/ 1567818 h 2502221"/>
                  <a:gd name="connsiteX9" fmla="*/ 854393 w 2564131"/>
                  <a:gd name="connsiteY9" fmla="*/ 467680 h 2502221"/>
                  <a:gd name="connsiteX10" fmla="*/ 1709739 w 2564131"/>
                  <a:gd name="connsiteY10" fmla="*/ 0 h 2502221"/>
                  <a:gd name="connsiteX11" fmla="*/ 2564131 w 2564131"/>
                  <a:gd name="connsiteY11" fmla="*/ 467677 h 2502221"/>
                  <a:gd name="connsiteX12" fmla="*/ 1709739 w 2564131"/>
                  <a:gd name="connsiteY12" fmla="*/ 934402 h 2502221"/>
                  <a:gd name="connsiteX13" fmla="*/ 854393 w 2564131"/>
                  <a:gd name="connsiteY13" fmla="*/ 467677 h 2502221"/>
                  <a:gd name="connsiteX14" fmla="*/ 1709739 w 2564131"/>
                  <a:gd name="connsiteY14" fmla="*/ 0 h 2502221"/>
                  <a:gd name="connsiteX0" fmla="*/ 854393 w 2564131"/>
                  <a:gd name="connsiteY0" fmla="*/ 467680 h 2502221"/>
                  <a:gd name="connsiteX1" fmla="*/ 1709737 w 2564131"/>
                  <a:gd name="connsiteY1" fmla="*/ 934405 h 2502221"/>
                  <a:gd name="connsiteX2" fmla="*/ 1709737 w 2564131"/>
                  <a:gd name="connsiteY2" fmla="*/ 2034543 h 2502221"/>
                  <a:gd name="connsiteX3" fmla="*/ 1709739 w 2564131"/>
                  <a:gd name="connsiteY3" fmla="*/ 2034544 h 2502221"/>
                  <a:gd name="connsiteX4" fmla="*/ 854393 w 2564131"/>
                  <a:gd name="connsiteY4" fmla="*/ 2502221 h 2502221"/>
                  <a:gd name="connsiteX5" fmla="*/ 0 w 2564131"/>
                  <a:gd name="connsiteY5" fmla="*/ 2034544 h 2502221"/>
                  <a:gd name="connsiteX6" fmla="*/ 854393 w 2564131"/>
                  <a:gd name="connsiteY6" fmla="*/ 1567819 h 2502221"/>
                  <a:gd name="connsiteX7" fmla="*/ 854393 w 2564131"/>
                  <a:gd name="connsiteY7" fmla="*/ 1567818 h 2502221"/>
                  <a:gd name="connsiteX8" fmla="*/ 854393 w 2564131"/>
                  <a:gd name="connsiteY8" fmla="*/ 467680 h 2502221"/>
                  <a:gd name="connsiteX9" fmla="*/ 1709739 w 2564131"/>
                  <a:gd name="connsiteY9" fmla="*/ 0 h 2502221"/>
                  <a:gd name="connsiteX10" fmla="*/ 2564131 w 2564131"/>
                  <a:gd name="connsiteY10" fmla="*/ 467677 h 2502221"/>
                  <a:gd name="connsiteX11" fmla="*/ 1709739 w 2564131"/>
                  <a:gd name="connsiteY11" fmla="*/ 934402 h 2502221"/>
                  <a:gd name="connsiteX12" fmla="*/ 854393 w 2564131"/>
                  <a:gd name="connsiteY12" fmla="*/ 467677 h 2502221"/>
                  <a:gd name="connsiteX13" fmla="*/ 1709739 w 2564131"/>
                  <a:gd name="connsiteY13" fmla="*/ 0 h 25022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564131" h="2502221">
                    <a:moveTo>
                      <a:pt x="854393" y="467680"/>
                    </a:moveTo>
                    <a:lnTo>
                      <a:pt x="1709737" y="934405"/>
                    </a:lnTo>
                    <a:lnTo>
                      <a:pt x="1709737" y="2034543"/>
                    </a:lnTo>
                    <a:cubicBezTo>
                      <a:pt x="1709738" y="2034543"/>
                      <a:pt x="1709738" y="2034544"/>
                      <a:pt x="1709739" y="2034544"/>
                    </a:cubicBezTo>
                    <a:lnTo>
                      <a:pt x="854393" y="2502221"/>
                    </a:lnTo>
                    <a:lnTo>
                      <a:pt x="0" y="2034544"/>
                    </a:lnTo>
                    <a:lnTo>
                      <a:pt x="854393" y="1567819"/>
                    </a:lnTo>
                    <a:lnTo>
                      <a:pt x="854393" y="1567818"/>
                    </a:lnTo>
                    <a:lnTo>
                      <a:pt x="854393" y="467680"/>
                    </a:lnTo>
                    <a:close/>
                    <a:moveTo>
                      <a:pt x="1709739" y="0"/>
                    </a:moveTo>
                    <a:lnTo>
                      <a:pt x="2564131" y="467677"/>
                    </a:lnTo>
                    <a:lnTo>
                      <a:pt x="1709739" y="934402"/>
                    </a:lnTo>
                    <a:lnTo>
                      <a:pt x="854393" y="467677"/>
                    </a:lnTo>
                    <a:lnTo>
                      <a:pt x="1709739" y="0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5DF4BDA5-0196-465B-9592-AD537FCE4B9C}"/>
                  </a:ext>
                </a:extLst>
              </p:cNvPr>
              <p:cNvSpPr/>
              <p:nvPr/>
            </p:nvSpPr>
            <p:spPr bwMode="ltGray">
              <a:xfrm>
                <a:off x="10708694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C953882-CF21-4072-808A-AFC6C6427081}"/>
                  </a:ext>
                </a:extLst>
              </p:cNvPr>
              <p:cNvSpPr/>
              <p:nvPr/>
            </p:nvSpPr>
            <p:spPr bwMode="ltGray">
              <a:xfrm>
                <a:off x="11441908" y="5092729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4ACD3F6-35BF-4463-9A90-5F5B9025D6D9}"/>
                  </a:ext>
                </a:extLst>
              </p:cNvPr>
              <p:cNvSpPr/>
              <p:nvPr/>
            </p:nvSpPr>
            <p:spPr bwMode="ltGray">
              <a:xfrm>
                <a:off x="10708694" y="6036831"/>
                <a:ext cx="1479509" cy="80923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36E0228F-415B-4662-977D-90C5D263A103}"/>
                  </a:ext>
                </a:extLst>
              </p:cNvPr>
              <p:cNvSpPr/>
              <p:nvPr/>
            </p:nvSpPr>
            <p:spPr bwMode="ltGray">
              <a:xfrm>
                <a:off x="10708694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1536" y="1107281"/>
                    </a:moveTo>
                    <a:lnTo>
                      <a:pt x="7144" y="1574959"/>
                    </a:lnTo>
                    <a:lnTo>
                      <a:pt x="7144" y="474821"/>
                    </a:lnTo>
                    <a:lnTo>
                      <a:pt x="861536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BBA85FE8-C6CE-42AD-9924-C426CEBA2C51}"/>
                  </a:ext>
                </a:extLst>
              </p:cNvPr>
              <p:cNvSpPr/>
              <p:nvPr/>
            </p:nvSpPr>
            <p:spPr bwMode="ltGray">
              <a:xfrm>
                <a:off x="11441908" y="1457714"/>
                <a:ext cx="743840" cy="1356898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2489" y="1574959"/>
                    </a:lnTo>
                    <a:lnTo>
                      <a:pt x="862489" y="474821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50FBB4D3-1D1C-41F7-856E-89287C5609D1}"/>
                  </a:ext>
                </a:extLst>
              </p:cNvPr>
              <p:cNvSpPr/>
              <p:nvPr/>
            </p:nvSpPr>
            <p:spPr bwMode="ltGray">
              <a:xfrm>
                <a:off x="10708694" y="2401820"/>
                <a:ext cx="1479509" cy="809235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1536" y="7144"/>
                    </a:moveTo>
                    <a:lnTo>
                      <a:pt x="7144" y="474821"/>
                    </a:lnTo>
                    <a:lnTo>
                      <a:pt x="861536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F5EE762-48D4-46D8-8ECD-7595053F7D6E}"/>
                  </a:ext>
                </a:extLst>
              </p:cNvPr>
              <p:cNvSpPr/>
              <p:nvPr/>
            </p:nvSpPr>
            <p:spPr bwMode="ltGray">
              <a:xfrm>
                <a:off x="11451715" y="2809296"/>
                <a:ext cx="734033" cy="1745983"/>
              </a:xfrm>
              <a:custGeom>
                <a:avLst/>
                <a:gdLst>
                  <a:gd name="connsiteX0" fmla="*/ 1709736 w 2565081"/>
                  <a:gd name="connsiteY0" fmla="*/ 0 h 2502215"/>
                  <a:gd name="connsiteX1" fmla="*/ 2565081 w 2565081"/>
                  <a:gd name="connsiteY1" fmla="*/ 467677 h 2502215"/>
                  <a:gd name="connsiteX2" fmla="*/ 1709736 w 2565081"/>
                  <a:gd name="connsiteY2" fmla="*/ 934402 h 2502215"/>
                  <a:gd name="connsiteX3" fmla="*/ 1709734 w 2565081"/>
                  <a:gd name="connsiteY3" fmla="*/ 934401 h 2502215"/>
                  <a:gd name="connsiteX4" fmla="*/ 1709734 w 2565081"/>
                  <a:gd name="connsiteY4" fmla="*/ 2035488 h 2502215"/>
                  <a:gd name="connsiteX5" fmla="*/ 1709738 w 2565081"/>
                  <a:gd name="connsiteY5" fmla="*/ 2035490 h 2502215"/>
                  <a:gd name="connsiteX6" fmla="*/ 855346 w 2565081"/>
                  <a:gd name="connsiteY6" fmla="*/ 2502215 h 2502215"/>
                  <a:gd name="connsiteX7" fmla="*/ 0 w 2565081"/>
                  <a:gd name="connsiteY7" fmla="*/ 2035490 h 2502215"/>
                  <a:gd name="connsiteX8" fmla="*/ 855345 w 2565081"/>
                  <a:gd name="connsiteY8" fmla="*/ 1567814 h 2502215"/>
                  <a:gd name="connsiteX9" fmla="*/ 855343 w 2565081"/>
                  <a:gd name="connsiteY9" fmla="*/ 1567813 h 2502215"/>
                  <a:gd name="connsiteX10" fmla="*/ 855343 w 2565081"/>
                  <a:gd name="connsiteY10" fmla="*/ 467677 h 2502215"/>
                  <a:gd name="connsiteX11" fmla="*/ 855343 w 2565081"/>
                  <a:gd name="connsiteY11" fmla="*/ 467675 h 2502215"/>
                  <a:gd name="connsiteX12" fmla="*/ 855345 w 2565081"/>
                  <a:gd name="connsiteY12" fmla="*/ 467676 h 2502215"/>
                  <a:gd name="connsiteX0" fmla="*/ 2565081 w 2671633"/>
                  <a:gd name="connsiteY0" fmla="*/ 467677 h 2502215"/>
                  <a:gd name="connsiteX1" fmla="*/ 1709736 w 2671633"/>
                  <a:gd name="connsiteY1" fmla="*/ 934402 h 2502215"/>
                  <a:gd name="connsiteX2" fmla="*/ 1709734 w 2671633"/>
                  <a:gd name="connsiteY2" fmla="*/ 934401 h 2502215"/>
                  <a:gd name="connsiteX3" fmla="*/ 1709734 w 2671633"/>
                  <a:gd name="connsiteY3" fmla="*/ 2035488 h 2502215"/>
                  <a:gd name="connsiteX4" fmla="*/ 1709738 w 2671633"/>
                  <a:gd name="connsiteY4" fmla="*/ 2035490 h 2502215"/>
                  <a:gd name="connsiteX5" fmla="*/ 855346 w 2671633"/>
                  <a:gd name="connsiteY5" fmla="*/ 2502215 h 2502215"/>
                  <a:gd name="connsiteX6" fmla="*/ 0 w 2671633"/>
                  <a:gd name="connsiteY6" fmla="*/ 2035490 h 2502215"/>
                  <a:gd name="connsiteX7" fmla="*/ 855345 w 2671633"/>
                  <a:gd name="connsiteY7" fmla="*/ 1567814 h 2502215"/>
                  <a:gd name="connsiteX8" fmla="*/ 855343 w 2671633"/>
                  <a:gd name="connsiteY8" fmla="*/ 1567813 h 2502215"/>
                  <a:gd name="connsiteX9" fmla="*/ 855343 w 2671633"/>
                  <a:gd name="connsiteY9" fmla="*/ 467677 h 2502215"/>
                  <a:gd name="connsiteX10" fmla="*/ 855343 w 2671633"/>
                  <a:gd name="connsiteY10" fmla="*/ 467675 h 2502215"/>
                  <a:gd name="connsiteX11" fmla="*/ 855345 w 2671633"/>
                  <a:gd name="connsiteY11" fmla="*/ 467676 h 2502215"/>
                  <a:gd name="connsiteX12" fmla="*/ 1709736 w 2671633"/>
                  <a:gd name="connsiteY12" fmla="*/ 0 h 2502215"/>
                  <a:gd name="connsiteX13" fmla="*/ 2671633 w 2671633"/>
                  <a:gd name="connsiteY13" fmla="*/ 574229 h 2502215"/>
                  <a:gd name="connsiteX0" fmla="*/ 2565081 w 2565081"/>
                  <a:gd name="connsiteY0" fmla="*/ 467677 h 2502215"/>
                  <a:gd name="connsiteX1" fmla="*/ 1709736 w 2565081"/>
                  <a:gd name="connsiteY1" fmla="*/ 934402 h 2502215"/>
                  <a:gd name="connsiteX2" fmla="*/ 1709734 w 2565081"/>
                  <a:gd name="connsiteY2" fmla="*/ 934401 h 2502215"/>
                  <a:gd name="connsiteX3" fmla="*/ 1709734 w 2565081"/>
                  <a:gd name="connsiteY3" fmla="*/ 2035488 h 2502215"/>
                  <a:gd name="connsiteX4" fmla="*/ 1709738 w 2565081"/>
                  <a:gd name="connsiteY4" fmla="*/ 2035490 h 2502215"/>
                  <a:gd name="connsiteX5" fmla="*/ 855346 w 2565081"/>
                  <a:gd name="connsiteY5" fmla="*/ 2502215 h 2502215"/>
                  <a:gd name="connsiteX6" fmla="*/ 0 w 2565081"/>
                  <a:gd name="connsiteY6" fmla="*/ 2035490 h 2502215"/>
                  <a:gd name="connsiteX7" fmla="*/ 855345 w 2565081"/>
                  <a:gd name="connsiteY7" fmla="*/ 1567814 h 2502215"/>
                  <a:gd name="connsiteX8" fmla="*/ 855343 w 2565081"/>
                  <a:gd name="connsiteY8" fmla="*/ 1567813 h 2502215"/>
                  <a:gd name="connsiteX9" fmla="*/ 855343 w 2565081"/>
                  <a:gd name="connsiteY9" fmla="*/ 467677 h 2502215"/>
                  <a:gd name="connsiteX10" fmla="*/ 855343 w 2565081"/>
                  <a:gd name="connsiteY10" fmla="*/ 467675 h 2502215"/>
                  <a:gd name="connsiteX11" fmla="*/ 855345 w 2565081"/>
                  <a:gd name="connsiteY11" fmla="*/ 467676 h 2502215"/>
                  <a:gd name="connsiteX12" fmla="*/ 1709736 w 2565081"/>
                  <a:gd name="connsiteY12" fmla="*/ 0 h 2502215"/>
                  <a:gd name="connsiteX0" fmla="*/ 2565081 w 2565081"/>
                  <a:gd name="connsiteY0" fmla="*/ 2 h 2034540"/>
                  <a:gd name="connsiteX1" fmla="*/ 1709736 w 2565081"/>
                  <a:gd name="connsiteY1" fmla="*/ 466727 h 2034540"/>
                  <a:gd name="connsiteX2" fmla="*/ 1709734 w 2565081"/>
                  <a:gd name="connsiteY2" fmla="*/ 466726 h 2034540"/>
                  <a:gd name="connsiteX3" fmla="*/ 1709734 w 2565081"/>
                  <a:gd name="connsiteY3" fmla="*/ 1567813 h 2034540"/>
                  <a:gd name="connsiteX4" fmla="*/ 1709738 w 2565081"/>
                  <a:gd name="connsiteY4" fmla="*/ 1567815 h 2034540"/>
                  <a:gd name="connsiteX5" fmla="*/ 855346 w 2565081"/>
                  <a:gd name="connsiteY5" fmla="*/ 2034540 h 2034540"/>
                  <a:gd name="connsiteX6" fmla="*/ 0 w 2565081"/>
                  <a:gd name="connsiteY6" fmla="*/ 1567815 h 2034540"/>
                  <a:gd name="connsiteX7" fmla="*/ 855345 w 2565081"/>
                  <a:gd name="connsiteY7" fmla="*/ 1100139 h 2034540"/>
                  <a:gd name="connsiteX8" fmla="*/ 855343 w 2565081"/>
                  <a:gd name="connsiteY8" fmla="*/ 1100138 h 2034540"/>
                  <a:gd name="connsiteX9" fmla="*/ 855343 w 2565081"/>
                  <a:gd name="connsiteY9" fmla="*/ 2 h 2034540"/>
                  <a:gd name="connsiteX10" fmla="*/ 855343 w 2565081"/>
                  <a:gd name="connsiteY10" fmla="*/ 0 h 2034540"/>
                  <a:gd name="connsiteX11" fmla="*/ 855345 w 2565081"/>
                  <a:gd name="connsiteY11" fmla="*/ 1 h 2034540"/>
                  <a:gd name="connsiteX0" fmla="*/ 1709736 w 1709737"/>
                  <a:gd name="connsiteY0" fmla="*/ 466727 h 2034540"/>
                  <a:gd name="connsiteX1" fmla="*/ 1709734 w 1709737"/>
                  <a:gd name="connsiteY1" fmla="*/ 466726 h 2034540"/>
                  <a:gd name="connsiteX2" fmla="*/ 1709734 w 1709737"/>
                  <a:gd name="connsiteY2" fmla="*/ 1567813 h 2034540"/>
                  <a:gd name="connsiteX3" fmla="*/ 1709738 w 1709737"/>
                  <a:gd name="connsiteY3" fmla="*/ 1567815 h 2034540"/>
                  <a:gd name="connsiteX4" fmla="*/ 855346 w 1709737"/>
                  <a:gd name="connsiteY4" fmla="*/ 2034540 h 2034540"/>
                  <a:gd name="connsiteX5" fmla="*/ 0 w 1709737"/>
                  <a:gd name="connsiteY5" fmla="*/ 1567815 h 2034540"/>
                  <a:gd name="connsiteX6" fmla="*/ 855345 w 1709737"/>
                  <a:gd name="connsiteY6" fmla="*/ 1100139 h 2034540"/>
                  <a:gd name="connsiteX7" fmla="*/ 855343 w 1709737"/>
                  <a:gd name="connsiteY7" fmla="*/ 1100138 h 2034540"/>
                  <a:gd name="connsiteX8" fmla="*/ 855343 w 1709737"/>
                  <a:gd name="connsiteY8" fmla="*/ 2 h 2034540"/>
                  <a:gd name="connsiteX9" fmla="*/ 855343 w 1709737"/>
                  <a:gd name="connsiteY9" fmla="*/ 0 h 2034540"/>
                  <a:gd name="connsiteX10" fmla="*/ 855345 w 1709737"/>
                  <a:gd name="connsiteY10" fmla="*/ 1 h 2034540"/>
                  <a:gd name="connsiteX0" fmla="*/ 1709736 w 1709738"/>
                  <a:gd name="connsiteY0" fmla="*/ 466727 h 2034540"/>
                  <a:gd name="connsiteX1" fmla="*/ 1709734 w 1709738"/>
                  <a:gd name="connsiteY1" fmla="*/ 1567813 h 2034540"/>
                  <a:gd name="connsiteX2" fmla="*/ 1709738 w 1709738"/>
                  <a:gd name="connsiteY2" fmla="*/ 1567815 h 2034540"/>
                  <a:gd name="connsiteX3" fmla="*/ 855346 w 1709738"/>
                  <a:gd name="connsiteY3" fmla="*/ 2034540 h 2034540"/>
                  <a:gd name="connsiteX4" fmla="*/ 0 w 1709738"/>
                  <a:gd name="connsiteY4" fmla="*/ 1567815 h 2034540"/>
                  <a:gd name="connsiteX5" fmla="*/ 855345 w 1709738"/>
                  <a:gd name="connsiteY5" fmla="*/ 1100139 h 2034540"/>
                  <a:gd name="connsiteX6" fmla="*/ 855343 w 1709738"/>
                  <a:gd name="connsiteY6" fmla="*/ 1100138 h 2034540"/>
                  <a:gd name="connsiteX7" fmla="*/ 855343 w 1709738"/>
                  <a:gd name="connsiteY7" fmla="*/ 2 h 2034540"/>
                  <a:gd name="connsiteX8" fmla="*/ 855343 w 1709738"/>
                  <a:gd name="connsiteY8" fmla="*/ 0 h 2034540"/>
                  <a:gd name="connsiteX9" fmla="*/ 855345 w 1709738"/>
                  <a:gd name="connsiteY9" fmla="*/ 1 h 2034540"/>
                  <a:gd name="connsiteX0" fmla="*/ 1709736 w 1709736"/>
                  <a:gd name="connsiteY0" fmla="*/ 466727 h 2034540"/>
                  <a:gd name="connsiteX1" fmla="*/ 1709734 w 1709736"/>
                  <a:gd name="connsiteY1" fmla="*/ 1567813 h 2034540"/>
                  <a:gd name="connsiteX2" fmla="*/ 855346 w 1709736"/>
                  <a:gd name="connsiteY2" fmla="*/ 2034540 h 2034540"/>
                  <a:gd name="connsiteX3" fmla="*/ 0 w 1709736"/>
                  <a:gd name="connsiteY3" fmla="*/ 1567815 h 2034540"/>
                  <a:gd name="connsiteX4" fmla="*/ 855345 w 1709736"/>
                  <a:gd name="connsiteY4" fmla="*/ 1100139 h 2034540"/>
                  <a:gd name="connsiteX5" fmla="*/ 855343 w 1709736"/>
                  <a:gd name="connsiteY5" fmla="*/ 1100138 h 2034540"/>
                  <a:gd name="connsiteX6" fmla="*/ 855343 w 1709736"/>
                  <a:gd name="connsiteY6" fmla="*/ 2 h 2034540"/>
                  <a:gd name="connsiteX7" fmla="*/ 855343 w 1709736"/>
                  <a:gd name="connsiteY7" fmla="*/ 0 h 2034540"/>
                  <a:gd name="connsiteX8" fmla="*/ 855345 w 1709736"/>
                  <a:gd name="connsiteY8" fmla="*/ 1 h 2034540"/>
                  <a:gd name="connsiteX0" fmla="*/ 1709734 w 1709734"/>
                  <a:gd name="connsiteY0" fmla="*/ 1567813 h 2034540"/>
                  <a:gd name="connsiteX1" fmla="*/ 855346 w 1709734"/>
                  <a:gd name="connsiteY1" fmla="*/ 2034540 h 2034540"/>
                  <a:gd name="connsiteX2" fmla="*/ 0 w 1709734"/>
                  <a:gd name="connsiteY2" fmla="*/ 1567815 h 2034540"/>
                  <a:gd name="connsiteX3" fmla="*/ 855345 w 1709734"/>
                  <a:gd name="connsiteY3" fmla="*/ 1100139 h 2034540"/>
                  <a:gd name="connsiteX4" fmla="*/ 855343 w 1709734"/>
                  <a:gd name="connsiteY4" fmla="*/ 1100138 h 2034540"/>
                  <a:gd name="connsiteX5" fmla="*/ 855343 w 1709734"/>
                  <a:gd name="connsiteY5" fmla="*/ 2 h 2034540"/>
                  <a:gd name="connsiteX6" fmla="*/ 855343 w 1709734"/>
                  <a:gd name="connsiteY6" fmla="*/ 0 h 2034540"/>
                  <a:gd name="connsiteX7" fmla="*/ 855345 w 1709734"/>
                  <a:gd name="connsiteY7" fmla="*/ 1 h 2034540"/>
                  <a:gd name="connsiteX0" fmla="*/ 855346 w 855346"/>
                  <a:gd name="connsiteY0" fmla="*/ 2034540 h 2034540"/>
                  <a:gd name="connsiteX1" fmla="*/ 0 w 855346"/>
                  <a:gd name="connsiteY1" fmla="*/ 1567815 h 2034540"/>
                  <a:gd name="connsiteX2" fmla="*/ 855345 w 855346"/>
                  <a:gd name="connsiteY2" fmla="*/ 1100139 h 2034540"/>
                  <a:gd name="connsiteX3" fmla="*/ 855343 w 855346"/>
                  <a:gd name="connsiteY3" fmla="*/ 1100138 h 2034540"/>
                  <a:gd name="connsiteX4" fmla="*/ 855343 w 855346"/>
                  <a:gd name="connsiteY4" fmla="*/ 2 h 2034540"/>
                  <a:gd name="connsiteX5" fmla="*/ 855343 w 855346"/>
                  <a:gd name="connsiteY5" fmla="*/ 0 h 2034540"/>
                  <a:gd name="connsiteX6" fmla="*/ 855345 w 855346"/>
                  <a:gd name="connsiteY6" fmla="*/ 1 h 20345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55346" h="2034540">
                    <a:moveTo>
                      <a:pt x="855346" y="2034540"/>
                    </a:moveTo>
                    <a:lnTo>
                      <a:pt x="0" y="1567815"/>
                    </a:lnTo>
                    <a:lnTo>
                      <a:pt x="855345" y="1100139"/>
                    </a:lnTo>
                    <a:cubicBezTo>
                      <a:pt x="855344" y="1100139"/>
                      <a:pt x="855344" y="1100138"/>
                      <a:pt x="855343" y="1100138"/>
                    </a:cubicBezTo>
                    <a:lnTo>
                      <a:pt x="855343" y="2"/>
                    </a:lnTo>
                    <a:lnTo>
                      <a:pt x="855343" y="0"/>
                    </a:lnTo>
                    <a:cubicBezTo>
                      <a:pt x="855344" y="0"/>
                      <a:pt x="855344" y="1"/>
                      <a:pt x="855345" y="1"/>
                    </a:cubicBez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cxnSp>
            <p:nvCxnSpPr>
              <p:cNvPr id="75" name="Straight Connector 74">
                <a:extLst>
                  <a:ext uri="{FF2B5EF4-FFF2-40B4-BE49-F238E27FC236}">
                    <a16:creationId xmlns:a16="http://schemas.microsoft.com/office/drawing/2014/main" id="{5602528A-0204-4F83-A3CC-B19E5ED41C75}"/>
                  </a:ext>
                </a:extLst>
              </p:cNvPr>
              <p:cNvCxnSpPr/>
              <p:nvPr/>
            </p:nvCxnSpPr>
            <p:spPr bwMode="ltGray">
              <a:xfrm>
                <a:off x="9981203" y="5098858"/>
                <a:ext cx="733213" cy="400531"/>
              </a:xfrm>
              <a:prstGeom prst="line">
                <a:avLst/>
              </a:pr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cxn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570E694A-2FDE-4ED0-B17A-283BAEEEBC3F}"/>
                </a:ext>
              </a:extLst>
            </p:cNvPr>
            <p:cNvGrpSpPr/>
            <p:nvPr userDrawn="1"/>
          </p:nvGrpSpPr>
          <p:grpSpPr bwMode="ltGray">
            <a:xfrm>
              <a:off x="7545167" y="-21839"/>
              <a:ext cx="1192433" cy="1098538"/>
              <a:chOff x="7545167" y="-9139"/>
              <a:chExt cx="1192433" cy="1098538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014F876-92BB-450A-A3A6-EB7B6C2CB558}"/>
                  </a:ext>
                </a:extLst>
              </p:cNvPr>
              <p:cNvSpPr/>
              <p:nvPr userDrawn="1"/>
            </p:nvSpPr>
            <p:spPr bwMode="ltGray">
              <a:xfrm>
                <a:off x="7550108" y="-9139"/>
                <a:ext cx="591604" cy="774738"/>
              </a:xfrm>
              <a:custGeom>
                <a:avLst/>
                <a:gdLst>
                  <a:gd name="connsiteX0" fmla="*/ 24121 w 591604"/>
                  <a:gd name="connsiteY0" fmla="*/ 0 h 774738"/>
                  <a:gd name="connsiteX1" fmla="*/ 591604 w 591604"/>
                  <a:gd name="connsiteY1" fmla="*/ 0 h 774738"/>
                  <a:gd name="connsiteX2" fmla="*/ 591604 w 591604"/>
                  <a:gd name="connsiteY2" fmla="*/ 451265 h 774738"/>
                  <a:gd name="connsiteX3" fmla="*/ 0 w 591604"/>
                  <a:gd name="connsiteY3" fmla="*/ 774738 h 774738"/>
                  <a:gd name="connsiteX4" fmla="*/ 0 w 591604"/>
                  <a:gd name="connsiteY4" fmla="*/ 13162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1604" h="774738">
                    <a:moveTo>
                      <a:pt x="24121" y="0"/>
                    </a:moveTo>
                    <a:lnTo>
                      <a:pt x="591604" y="0"/>
                    </a:lnTo>
                    <a:lnTo>
                      <a:pt x="591604" y="451265"/>
                    </a:lnTo>
                    <a:lnTo>
                      <a:pt x="0" y="774738"/>
                    </a:lnTo>
                    <a:lnTo>
                      <a:pt x="0" y="13162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1AFE4E51-6693-4C7C-9EE7-633EA9AAA2AC}"/>
                  </a:ext>
                </a:extLst>
              </p:cNvPr>
              <p:cNvSpPr/>
              <p:nvPr userDrawn="1"/>
            </p:nvSpPr>
            <p:spPr bwMode="ltGray">
              <a:xfrm>
                <a:off x="8141712" y="-9139"/>
                <a:ext cx="590944" cy="774738"/>
              </a:xfrm>
              <a:custGeom>
                <a:avLst/>
                <a:gdLst>
                  <a:gd name="connsiteX0" fmla="*/ 0 w 590944"/>
                  <a:gd name="connsiteY0" fmla="*/ 0 h 774738"/>
                  <a:gd name="connsiteX1" fmla="*/ 566850 w 590944"/>
                  <a:gd name="connsiteY1" fmla="*/ 0 h 774738"/>
                  <a:gd name="connsiteX2" fmla="*/ 590944 w 590944"/>
                  <a:gd name="connsiteY2" fmla="*/ 13162 h 774738"/>
                  <a:gd name="connsiteX3" fmla="*/ 590944 w 590944"/>
                  <a:gd name="connsiteY3" fmla="*/ 774738 h 774738"/>
                  <a:gd name="connsiteX4" fmla="*/ 0 w 590944"/>
                  <a:gd name="connsiteY4" fmla="*/ 451265 h 77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944" h="774738">
                    <a:moveTo>
                      <a:pt x="0" y="0"/>
                    </a:moveTo>
                    <a:lnTo>
                      <a:pt x="566850" y="0"/>
                    </a:lnTo>
                    <a:lnTo>
                      <a:pt x="590944" y="13162"/>
                    </a:lnTo>
                    <a:lnTo>
                      <a:pt x="590944" y="774738"/>
                    </a:lnTo>
                    <a:lnTo>
                      <a:pt x="0" y="451265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522550D5-A578-4C33-B405-092D50801565}"/>
                  </a:ext>
                </a:extLst>
              </p:cNvPr>
              <p:cNvSpPr/>
              <p:nvPr userDrawn="1"/>
            </p:nvSpPr>
            <p:spPr bwMode="ltGray">
              <a:xfrm>
                <a:off x="7545167" y="437185"/>
                <a:ext cx="1192433" cy="652214"/>
              </a:xfrm>
              <a:custGeom>
                <a:avLst/>
                <a:gdLst/>
                <a:ahLst/>
                <a:cxnLst/>
                <a:rect l="0" t="0" r="0" b="0"/>
                <a:pathLst>
                  <a:path w="1724025" h="942975">
                    <a:moveTo>
                      <a:pt x="862489" y="7144"/>
                    </a:moveTo>
                    <a:lnTo>
                      <a:pt x="7144" y="474821"/>
                    </a:lnTo>
                    <a:lnTo>
                      <a:pt x="862489" y="941546"/>
                    </a:lnTo>
                    <a:lnTo>
                      <a:pt x="1716881" y="474821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6A5C88A0-A89F-42B9-B5E5-623E0E0D7555}"/>
                </a:ext>
              </a:extLst>
            </p:cNvPr>
            <p:cNvGrpSpPr/>
            <p:nvPr userDrawn="1"/>
          </p:nvGrpSpPr>
          <p:grpSpPr bwMode="ltGray">
            <a:xfrm>
              <a:off x="6256117" y="5896894"/>
              <a:ext cx="1057910" cy="971314"/>
              <a:chOff x="6256117" y="5896894"/>
              <a:chExt cx="1057910" cy="971314"/>
            </a:xfrm>
          </p:grpSpPr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4AD7328-AEE6-43BE-8744-DE52D5F8CC2E}"/>
                  </a:ext>
                </a:extLst>
              </p:cNvPr>
              <p:cNvSpPr/>
              <p:nvPr userDrawn="1"/>
            </p:nvSpPr>
            <p:spPr bwMode="ltGray">
              <a:xfrm>
                <a:off x="6256117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862489" y="1107281"/>
                    </a:moveTo>
                    <a:lnTo>
                      <a:pt x="7144" y="1574959"/>
                    </a:lnTo>
                    <a:lnTo>
                      <a:pt x="7144" y="473869"/>
                    </a:lnTo>
                    <a:lnTo>
                      <a:pt x="862489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0DC1356-0D84-4394-B0FF-A91903B8585E}"/>
                  </a:ext>
                </a:extLst>
              </p:cNvPr>
              <p:cNvSpPr/>
              <p:nvPr userDrawn="1"/>
            </p:nvSpPr>
            <p:spPr bwMode="ltGray">
              <a:xfrm>
                <a:off x="6781561" y="5896894"/>
                <a:ext cx="532466" cy="971314"/>
              </a:xfrm>
              <a:custGeom>
                <a:avLst/>
                <a:gdLst/>
                <a:ahLst/>
                <a:cxnLst/>
                <a:rect l="0" t="0" r="0" b="0"/>
                <a:pathLst>
                  <a:path w="866775" h="1581150">
                    <a:moveTo>
                      <a:pt x="7144" y="1107281"/>
                    </a:moveTo>
                    <a:lnTo>
                      <a:pt x="861536" y="1574959"/>
                    </a:lnTo>
                    <a:lnTo>
                      <a:pt x="861536" y="473869"/>
                    </a:lnTo>
                    <a:lnTo>
                      <a:pt x="7144" y="7144"/>
                    </a:lnTo>
                    <a:close/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5CA4391C-EE34-4D39-AC03-6D3272F213DC}"/>
                  </a:ext>
                </a:extLst>
              </p:cNvPr>
              <p:cNvSpPr/>
              <p:nvPr userDrawn="1"/>
            </p:nvSpPr>
            <p:spPr bwMode="ltGray">
              <a:xfrm>
                <a:off x="6260506" y="6577107"/>
                <a:ext cx="1050305" cy="287297"/>
              </a:xfrm>
              <a:custGeom>
                <a:avLst/>
                <a:gdLst>
                  <a:gd name="connsiteX0" fmla="*/ 855344 w 1709736"/>
                  <a:gd name="connsiteY0" fmla="*/ 934401 h 1083252"/>
                  <a:gd name="connsiteX1" fmla="*/ 1709736 w 1709736"/>
                  <a:gd name="connsiteY1" fmla="*/ 467676 h 1083252"/>
                  <a:gd name="connsiteX2" fmla="*/ 855344 w 1709736"/>
                  <a:gd name="connsiteY2" fmla="*/ -1 h 1083252"/>
                  <a:gd name="connsiteX3" fmla="*/ -1 w 1709736"/>
                  <a:gd name="connsiteY3" fmla="*/ 467676 h 1083252"/>
                  <a:gd name="connsiteX4" fmla="*/ 1004194 w 1709736"/>
                  <a:gd name="connsiteY4" fmla="*/ 1083251 h 1083252"/>
                  <a:gd name="connsiteX0" fmla="*/ 855346 w 1709738"/>
                  <a:gd name="connsiteY0" fmla="*/ 934403 h 934403"/>
                  <a:gd name="connsiteX1" fmla="*/ 1709738 w 1709738"/>
                  <a:gd name="connsiteY1" fmla="*/ 467678 h 934403"/>
                  <a:gd name="connsiteX2" fmla="*/ 855346 w 1709738"/>
                  <a:gd name="connsiteY2" fmla="*/ 1 h 934403"/>
                  <a:gd name="connsiteX3" fmla="*/ 1 w 1709738"/>
                  <a:gd name="connsiteY3" fmla="*/ 467678 h 934403"/>
                  <a:gd name="connsiteX0" fmla="*/ 1709736 w 1709736"/>
                  <a:gd name="connsiteY0" fmla="*/ 467676 h 467676"/>
                  <a:gd name="connsiteX1" fmla="*/ 855344 w 1709736"/>
                  <a:gd name="connsiteY1" fmla="*/ -1 h 467676"/>
                  <a:gd name="connsiteX2" fmla="*/ -1 w 1709736"/>
                  <a:gd name="connsiteY2" fmla="*/ 467676 h 4676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09736" h="467676">
                    <a:moveTo>
                      <a:pt x="1709736" y="467676"/>
                    </a:moveTo>
                    <a:lnTo>
                      <a:pt x="855344" y="-1"/>
                    </a:lnTo>
                    <a:lnTo>
                      <a:pt x="-1" y="467676"/>
                    </a:lnTo>
                  </a:path>
                </a:pathLst>
              </a:custGeom>
              <a:noFill/>
              <a:ln w="17463" cap="flat">
                <a:solidFill>
                  <a:srgbClr val="D83B01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465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473847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4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8263" y="1436688"/>
            <a:ext cx="11018520" cy="1908215"/>
          </a:xfrm>
        </p:spPr>
        <p:txBody>
          <a:bodyPr/>
          <a:lstStyle>
            <a:lvl1pPr marL="0" indent="0">
              <a:buNone/>
              <a:defRPr sz="2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 sz="24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 sz="20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 sz="180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355581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584200" y="6161316"/>
            <a:ext cx="4482124" cy="10772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MS logo gray - EMF" descr="Microsoft logo, gray text version">
            <a:extLst>
              <a:ext uri="{FF2B5EF4-FFF2-40B4-BE49-F238E27FC236}">
                <a16:creationId xmlns:a16="http://schemas.microsoft.com/office/drawing/2014/main" id="{C2F26819-B90F-4C18-ACFE-2E5E212772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725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84200" y="1436688"/>
            <a:ext cx="11018838" cy="2215991"/>
          </a:xfrm>
        </p:spPr>
        <p:txBody>
          <a:bodyPr>
            <a:spAutoFit/>
          </a:bodyPr>
          <a:lstStyle>
            <a:lvl1pPr>
              <a:defRPr sz="3600">
                <a:latin typeface="+mn-lt"/>
              </a:defRPr>
            </a:lvl1pPr>
            <a:lvl2pPr>
              <a:defRPr sz="2800">
                <a:latin typeface="+mn-lt"/>
              </a:defRPr>
            </a:lvl2pPr>
            <a:lvl3pPr>
              <a:defRPr sz="24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180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269038"/>
            <a:ext cx="12192001" cy="588963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2861013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54DF-CB0E-46F9-AA3C-00BC673EB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9510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3" orient="horz" pos="900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E091E3-2C2A-4AB3-B51D-588316BBDF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515FF4-654B-44F1-8E99-8C0A39FA1F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F48ABD-9E35-4A55-A97D-8C5D0CCC8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876F61-9256-4462-923F-18C6669F4E3D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F3C84B-BCFF-4B22-94CC-F2ADC89A95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88BBE5-6DD0-464D-BA3E-1347C8F895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276E9F-560D-46BA-A360-65CCF2F886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63690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5" y="620428"/>
            <a:ext cx="11306469" cy="4013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95000"/>
              </a:lnSpc>
              <a:defRPr sz="2745" strike="noStrike">
                <a:solidFill>
                  <a:srgbClr val="2F2F2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073478740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228601" y="902172"/>
            <a:ext cx="11734800" cy="226326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6636885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2DABEB-89A7-47A0-B89E-09858AA939A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72D180-BB68-4C91-801E-029270ED23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A93466-21F2-4A4E-A691-1FDE8AE67D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C8FB47-CC7B-475F-88E9-8E5B9DBFAE85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66996D-3364-42C1-B757-11D711CD03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94F175-E0DF-449E-8108-0E85FAB95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3F266-9E59-475A-989C-B00974361A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1346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41" y="6170060"/>
            <a:ext cx="11623331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59" tIns="143407" rIns="179259" bIns="143407" numCol="1" anchor="t" anchorCtr="0" compatLnSpc="1">
            <a:prstTxWarp prst="textNoShape">
              <a:avLst/>
            </a:prstTxWarp>
            <a:spAutoFit/>
          </a:bodyPr>
          <a:lstStyle/>
          <a:p>
            <a:pPr defTabSz="913748" eaLnBrk="0" hangingPunct="0"/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</a:t>
            </a:r>
            <a:r>
              <a:rPr lang="en-US" sz="686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 Copyright</a:t>
            </a:r>
            <a:r>
              <a:rPr lang="en-US" sz="686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 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0202" y="3083653"/>
            <a:ext cx="3223861" cy="69069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6A85514-12F2-43C5-A3BC-0D715C2E327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F0A7C2-12B9-4AF8-A7F5-DFD4E93065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668714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Windows 10"/>
          <p:cNvSpPr>
            <a:spLocks noChangeAspect="1" noEditPoints="1"/>
          </p:cNvSpPr>
          <p:nvPr userDrawn="1"/>
        </p:nvSpPr>
        <p:spPr bwMode="auto">
          <a:xfrm>
            <a:off x="448586" y="739373"/>
            <a:ext cx="2878507" cy="537931"/>
          </a:xfrm>
          <a:custGeom>
            <a:avLst/>
            <a:gdLst>
              <a:gd name="T0" fmla="*/ 295 w 3590"/>
              <a:gd name="T1" fmla="*/ 329 h 668"/>
              <a:gd name="T2" fmla="*/ 0 w 3590"/>
              <a:gd name="T3" fmla="*/ 94 h 668"/>
              <a:gd name="T4" fmla="*/ 295 w 3590"/>
              <a:gd name="T5" fmla="*/ 616 h 668"/>
              <a:gd name="T6" fmla="*/ 284 w 3590"/>
              <a:gd name="T7" fmla="*/ 340 h 668"/>
              <a:gd name="T8" fmla="*/ 284 w 3590"/>
              <a:gd name="T9" fmla="*/ 340 h 668"/>
              <a:gd name="T10" fmla="*/ 3196 w 3590"/>
              <a:gd name="T11" fmla="*/ 160 h 668"/>
              <a:gd name="T12" fmla="*/ 3158 w 3590"/>
              <a:gd name="T13" fmla="*/ 224 h 668"/>
              <a:gd name="T14" fmla="*/ 3223 w 3590"/>
              <a:gd name="T15" fmla="*/ 531 h 668"/>
              <a:gd name="T16" fmla="*/ 3407 w 3590"/>
              <a:gd name="T17" fmla="*/ 139 h 668"/>
              <a:gd name="T18" fmla="*/ 3339 w 3590"/>
              <a:gd name="T19" fmla="*/ 424 h 668"/>
              <a:gd name="T20" fmla="*/ 3513 w 3590"/>
              <a:gd name="T21" fmla="*/ 524 h 668"/>
              <a:gd name="T22" fmla="*/ 3465 w 3590"/>
              <a:gd name="T23" fmla="*/ 125 h 668"/>
              <a:gd name="T24" fmla="*/ 3544 w 3590"/>
              <a:gd name="T25" fmla="*/ 334 h 668"/>
              <a:gd name="T26" fmla="*/ 1215 w 3590"/>
              <a:gd name="T27" fmla="*/ 532 h 668"/>
              <a:gd name="T28" fmla="*/ 1118 w 3590"/>
              <a:gd name="T29" fmla="*/ 240 h 668"/>
              <a:gd name="T30" fmla="*/ 916 w 3590"/>
              <a:gd name="T31" fmla="*/ 133 h 668"/>
              <a:gd name="T32" fmla="*/ 1017 w 3590"/>
              <a:gd name="T33" fmla="*/ 439 h 668"/>
              <a:gd name="T34" fmla="*/ 1242 w 3590"/>
              <a:gd name="T35" fmla="*/ 478 h 668"/>
              <a:gd name="T36" fmla="*/ 1382 w 3590"/>
              <a:gd name="T37" fmla="*/ 133 h 668"/>
              <a:gd name="T38" fmla="*/ 1424 w 3590"/>
              <a:gd name="T39" fmla="*/ 175 h 668"/>
              <a:gd name="T40" fmla="*/ 1467 w 3590"/>
              <a:gd name="T41" fmla="*/ 132 h 668"/>
              <a:gd name="T42" fmla="*/ 1422 w 3590"/>
              <a:gd name="T43" fmla="*/ 247 h 668"/>
              <a:gd name="T44" fmla="*/ 1726 w 3590"/>
              <a:gd name="T45" fmla="*/ 532 h 668"/>
              <a:gd name="T46" fmla="*/ 1581 w 3590"/>
              <a:gd name="T47" fmla="*/ 369 h 668"/>
              <a:gd name="T48" fmla="*/ 1581 w 3590"/>
              <a:gd name="T49" fmla="*/ 247 h 668"/>
              <a:gd name="T50" fmla="*/ 1747 w 3590"/>
              <a:gd name="T51" fmla="*/ 271 h 668"/>
              <a:gd name="T52" fmla="*/ 2041 w 3590"/>
              <a:gd name="T53" fmla="*/ 532 h 668"/>
              <a:gd name="T54" fmla="*/ 1856 w 3590"/>
              <a:gd name="T55" fmla="*/ 500 h 668"/>
              <a:gd name="T56" fmla="*/ 2040 w 3590"/>
              <a:gd name="T57" fmla="*/ 286 h 668"/>
              <a:gd name="T58" fmla="*/ 2087 w 3590"/>
              <a:gd name="T59" fmla="*/ 532 h 668"/>
              <a:gd name="T60" fmla="*/ 1960 w 3590"/>
              <a:gd name="T61" fmla="*/ 279 h 668"/>
              <a:gd name="T62" fmla="*/ 1955 w 3590"/>
              <a:gd name="T63" fmla="*/ 500 h 668"/>
              <a:gd name="T64" fmla="*/ 2387 w 3590"/>
              <a:gd name="T65" fmla="*/ 497 h 668"/>
              <a:gd name="T66" fmla="*/ 2184 w 3590"/>
              <a:gd name="T67" fmla="*/ 281 h 668"/>
              <a:gd name="T68" fmla="*/ 2379 w 3590"/>
              <a:gd name="T69" fmla="*/ 390 h 668"/>
              <a:gd name="T70" fmla="*/ 2192 w 3590"/>
              <a:gd name="T71" fmla="*/ 391 h 668"/>
              <a:gd name="T72" fmla="*/ 2379 w 3590"/>
              <a:gd name="T73" fmla="*/ 390 h 668"/>
              <a:gd name="T74" fmla="*/ 2651 w 3590"/>
              <a:gd name="T75" fmla="*/ 328 h 668"/>
              <a:gd name="T76" fmla="*/ 2576 w 3590"/>
              <a:gd name="T77" fmla="*/ 532 h 668"/>
              <a:gd name="T78" fmla="*/ 2551 w 3590"/>
              <a:gd name="T79" fmla="*/ 461 h 668"/>
              <a:gd name="T80" fmla="*/ 2628 w 3590"/>
              <a:gd name="T81" fmla="*/ 247 h 668"/>
              <a:gd name="T82" fmla="*/ 2735 w 3590"/>
              <a:gd name="T83" fmla="*/ 487 h 668"/>
              <a:gd name="T84" fmla="*/ 3039 w 3590"/>
              <a:gd name="T85" fmla="*/ 456 h 668"/>
              <a:gd name="T86" fmla="*/ 2864 w 3590"/>
              <a:gd name="T87" fmla="*/ 473 h 668"/>
              <a:gd name="T88" fmla="*/ 2934 w 3590"/>
              <a:gd name="T89" fmla="*/ 406 h 668"/>
              <a:gd name="T90" fmla="*/ 2965 w 3590"/>
              <a:gd name="T91" fmla="*/ 240 h 668"/>
              <a:gd name="T92" fmla="*/ 2925 w 3590"/>
              <a:gd name="T93" fmla="*/ 290 h 668"/>
              <a:gd name="T94" fmla="*/ 3022 w 3590"/>
              <a:gd name="T95" fmla="*/ 408 h 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90" h="668">
                <a:moveTo>
                  <a:pt x="295" y="52"/>
                </a:moveTo>
                <a:cubicBezTo>
                  <a:pt x="667" y="0"/>
                  <a:pt x="667" y="0"/>
                  <a:pt x="667" y="0"/>
                </a:cubicBezTo>
                <a:cubicBezTo>
                  <a:pt x="667" y="329"/>
                  <a:pt x="667" y="329"/>
                  <a:pt x="667" y="329"/>
                </a:cubicBezTo>
                <a:cubicBezTo>
                  <a:pt x="295" y="329"/>
                  <a:pt x="295" y="329"/>
                  <a:pt x="295" y="329"/>
                </a:cubicBezTo>
                <a:lnTo>
                  <a:pt x="295" y="52"/>
                </a:lnTo>
                <a:close/>
                <a:moveTo>
                  <a:pt x="284" y="329"/>
                </a:moveTo>
                <a:cubicBezTo>
                  <a:pt x="284" y="54"/>
                  <a:pt x="284" y="54"/>
                  <a:pt x="284" y="54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329"/>
                  <a:pt x="0" y="329"/>
                  <a:pt x="0" y="329"/>
                </a:cubicBezTo>
                <a:lnTo>
                  <a:pt x="284" y="329"/>
                </a:lnTo>
                <a:close/>
                <a:moveTo>
                  <a:pt x="295" y="340"/>
                </a:moveTo>
                <a:cubicBezTo>
                  <a:pt x="295" y="616"/>
                  <a:pt x="295" y="616"/>
                  <a:pt x="295" y="616"/>
                </a:cubicBezTo>
                <a:cubicBezTo>
                  <a:pt x="667" y="668"/>
                  <a:pt x="667" y="668"/>
                  <a:pt x="667" y="668"/>
                </a:cubicBezTo>
                <a:cubicBezTo>
                  <a:pt x="667" y="340"/>
                  <a:pt x="667" y="340"/>
                  <a:pt x="667" y="340"/>
                </a:cubicBezTo>
                <a:lnTo>
                  <a:pt x="295" y="340"/>
                </a:lnTo>
                <a:close/>
                <a:moveTo>
                  <a:pt x="284" y="340"/>
                </a:moveTo>
                <a:cubicBezTo>
                  <a:pt x="0" y="340"/>
                  <a:pt x="0" y="340"/>
                  <a:pt x="0" y="340"/>
                </a:cubicBezTo>
                <a:cubicBezTo>
                  <a:pt x="0" y="575"/>
                  <a:pt x="0" y="575"/>
                  <a:pt x="0" y="575"/>
                </a:cubicBezTo>
                <a:cubicBezTo>
                  <a:pt x="284" y="615"/>
                  <a:pt x="284" y="615"/>
                  <a:pt x="284" y="615"/>
                </a:cubicBezTo>
                <a:lnTo>
                  <a:pt x="284" y="340"/>
                </a:lnTo>
                <a:close/>
                <a:moveTo>
                  <a:pt x="3269" y="123"/>
                </a:moveTo>
                <a:cubicBezTo>
                  <a:pt x="3252" y="123"/>
                  <a:pt x="3252" y="123"/>
                  <a:pt x="3252" y="123"/>
                </a:cubicBezTo>
                <a:cubicBezTo>
                  <a:pt x="3245" y="129"/>
                  <a:pt x="3236" y="136"/>
                  <a:pt x="3227" y="142"/>
                </a:cubicBezTo>
                <a:cubicBezTo>
                  <a:pt x="3217" y="148"/>
                  <a:pt x="3207" y="154"/>
                  <a:pt x="3196" y="160"/>
                </a:cubicBezTo>
                <a:cubicBezTo>
                  <a:pt x="3185" y="166"/>
                  <a:pt x="3174" y="171"/>
                  <a:pt x="3163" y="176"/>
                </a:cubicBezTo>
                <a:cubicBezTo>
                  <a:pt x="3152" y="181"/>
                  <a:pt x="3141" y="185"/>
                  <a:pt x="3131" y="187"/>
                </a:cubicBezTo>
                <a:cubicBezTo>
                  <a:pt x="3131" y="234"/>
                  <a:pt x="3131" y="234"/>
                  <a:pt x="3131" y="234"/>
                </a:cubicBezTo>
                <a:cubicBezTo>
                  <a:pt x="3140" y="231"/>
                  <a:pt x="3149" y="228"/>
                  <a:pt x="3158" y="224"/>
                </a:cubicBezTo>
                <a:cubicBezTo>
                  <a:pt x="3168" y="221"/>
                  <a:pt x="3177" y="216"/>
                  <a:pt x="3185" y="212"/>
                </a:cubicBezTo>
                <a:cubicBezTo>
                  <a:pt x="3194" y="207"/>
                  <a:pt x="3201" y="203"/>
                  <a:pt x="3208" y="198"/>
                </a:cubicBezTo>
                <a:cubicBezTo>
                  <a:pt x="3215" y="194"/>
                  <a:pt x="3220" y="190"/>
                  <a:pt x="3223" y="186"/>
                </a:cubicBezTo>
                <a:cubicBezTo>
                  <a:pt x="3223" y="531"/>
                  <a:pt x="3223" y="531"/>
                  <a:pt x="3223" y="531"/>
                </a:cubicBezTo>
                <a:cubicBezTo>
                  <a:pt x="3269" y="531"/>
                  <a:pt x="3269" y="531"/>
                  <a:pt x="3269" y="531"/>
                </a:cubicBezTo>
                <a:lnTo>
                  <a:pt x="3269" y="123"/>
                </a:lnTo>
                <a:close/>
                <a:moveTo>
                  <a:pt x="3465" y="125"/>
                </a:moveTo>
                <a:cubicBezTo>
                  <a:pt x="3443" y="125"/>
                  <a:pt x="3424" y="130"/>
                  <a:pt x="3407" y="139"/>
                </a:cubicBezTo>
                <a:cubicBezTo>
                  <a:pt x="3390" y="148"/>
                  <a:pt x="3376" y="162"/>
                  <a:pt x="3365" y="180"/>
                </a:cubicBezTo>
                <a:cubicBezTo>
                  <a:pt x="3354" y="198"/>
                  <a:pt x="3345" y="221"/>
                  <a:pt x="3339" y="247"/>
                </a:cubicBezTo>
                <a:cubicBezTo>
                  <a:pt x="3333" y="274"/>
                  <a:pt x="3331" y="305"/>
                  <a:pt x="3331" y="340"/>
                </a:cubicBezTo>
                <a:cubicBezTo>
                  <a:pt x="3331" y="371"/>
                  <a:pt x="3333" y="399"/>
                  <a:pt x="3339" y="424"/>
                </a:cubicBezTo>
                <a:cubicBezTo>
                  <a:pt x="3344" y="448"/>
                  <a:pt x="3353" y="469"/>
                  <a:pt x="3363" y="486"/>
                </a:cubicBezTo>
                <a:cubicBezTo>
                  <a:pt x="3374" y="503"/>
                  <a:pt x="3387" y="516"/>
                  <a:pt x="3403" y="525"/>
                </a:cubicBezTo>
                <a:cubicBezTo>
                  <a:pt x="3419" y="533"/>
                  <a:pt x="3436" y="538"/>
                  <a:pt x="3456" y="538"/>
                </a:cubicBezTo>
                <a:cubicBezTo>
                  <a:pt x="3478" y="538"/>
                  <a:pt x="3496" y="533"/>
                  <a:pt x="3513" y="524"/>
                </a:cubicBezTo>
                <a:cubicBezTo>
                  <a:pt x="3530" y="515"/>
                  <a:pt x="3544" y="501"/>
                  <a:pt x="3555" y="484"/>
                </a:cubicBezTo>
                <a:cubicBezTo>
                  <a:pt x="3566" y="466"/>
                  <a:pt x="3575" y="444"/>
                  <a:pt x="3581" y="418"/>
                </a:cubicBezTo>
                <a:cubicBezTo>
                  <a:pt x="3587" y="393"/>
                  <a:pt x="3590" y="363"/>
                  <a:pt x="3590" y="330"/>
                </a:cubicBezTo>
                <a:cubicBezTo>
                  <a:pt x="3590" y="194"/>
                  <a:pt x="3548" y="125"/>
                  <a:pt x="3465" y="125"/>
                </a:cubicBezTo>
                <a:close/>
                <a:moveTo>
                  <a:pt x="3461" y="499"/>
                </a:moveTo>
                <a:cubicBezTo>
                  <a:pt x="3405" y="499"/>
                  <a:pt x="3377" y="445"/>
                  <a:pt x="3377" y="337"/>
                </a:cubicBezTo>
                <a:cubicBezTo>
                  <a:pt x="3377" y="222"/>
                  <a:pt x="3406" y="164"/>
                  <a:pt x="3463" y="164"/>
                </a:cubicBezTo>
                <a:cubicBezTo>
                  <a:pt x="3517" y="164"/>
                  <a:pt x="3544" y="221"/>
                  <a:pt x="3544" y="334"/>
                </a:cubicBezTo>
                <a:cubicBezTo>
                  <a:pt x="3544" y="444"/>
                  <a:pt x="3516" y="499"/>
                  <a:pt x="3461" y="499"/>
                </a:cubicBezTo>
                <a:close/>
                <a:moveTo>
                  <a:pt x="1382" y="133"/>
                </a:moveTo>
                <a:cubicBezTo>
                  <a:pt x="1270" y="532"/>
                  <a:pt x="1270" y="532"/>
                  <a:pt x="1270" y="532"/>
                </a:cubicBezTo>
                <a:cubicBezTo>
                  <a:pt x="1215" y="532"/>
                  <a:pt x="1215" y="532"/>
                  <a:pt x="1215" y="532"/>
                </a:cubicBezTo>
                <a:cubicBezTo>
                  <a:pt x="1133" y="240"/>
                  <a:pt x="1133" y="240"/>
                  <a:pt x="1133" y="240"/>
                </a:cubicBezTo>
                <a:cubicBezTo>
                  <a:pt x="1130" y="229"/>
                  <a:pt x="1128" y="216"/>
                  <a:pt x="1127" y="200"/>
                </a:cubicBezTo>
                <a:cubicBezTo>
                  <a:pt x="1126" y="200"/>
                  <a:pt x="1126" y="200"/>
                  <a:pt x="1126" y="200"/>
                </a:cubicBezTo>
                <a:cubicBezTo>
                  <a:pt x="1124" y="214"/>
                  <a:pt x="1122" y="227"/>
                  <a:pt x="1118" y="240"/>
                </a:cubicBezTo>
                <a:cubicBezTo>
                  <a:pt x="1036" y="532"/>
                  <a:pt x="1036" y="532"/>
                  <a:pt x="1036" y="532"/>
                </a:cubicBezTo>
                <a:cubicBezTo>
                  <a:pt x="981" y="532"/>
                  <a:pt x="981" y="532"/>
                  <a:pt x="981" y="532"/>
                </a:cubicBezTo>
                <a:cubicBezTo>
                  <a:pt x="865" y="133"/>
                  <a:pt x="865" y="133"/>
                  <a:pt x="865" y="133"/>
                </a:cubicBezTo>
                <a:cubicBezTo>
                  <a:pt x="916" y="133"/>
                  <a:pt x="916" y="133"/>
                  <a:pt x="916" y="133"/>
                </a:cubicBezTo>
                <a:cubicBezTo>
                  <a:pt x="1001" y="439"/>
                  <a:pt x="1001" y="439"/>
                  <a:pt x="1001" y="439"/>
                </a:cubicBezTo>
                <a:cubicBezTo>
                  <a:pt x="1004" y="452"/>
                  <a:pt x="1007" y="466"/>
                  <a:pt x="1008" y="479"/>
                </a:cubicBezTo>
                <a:cubicBezTo>
                  <a:pt x="1009" y="479"/>
                  <a:pt x="1009" y="479"/>
                  <a:pt x="1009" y="479"/>
                </a:cubicBezTo>
                <a:cubicBezTo>
                  <a:pt x="1010" y="468"/>
                  <a:pt x="1013" y="454"/>
                  <a:pt x="1017" y="439"/>
                </a:cubicBezTo>
                <a:cubicBezTo>
                  <a:pt x="1106" y="133"/>
                  <a:pt x="1106" y="133"/>
                  <a:pt x="1106" y="133"/>
                </a:cubicBezTo>
                <a:cubicBezTo>
                  <a:pt x="1151" y="133"/>
                  <a:pt x="1151" y="133"/>
                  <a:pt x="1151" y="133"/>
                </a:cubicBezTo>
                <a:cubicBezTo>
                  <a:pt x="1235" y="441"/>
                  <a:pt x="1235" y="441"/>
                  <a:pt x="1235" y="441"/>
                </a:cubicBezTo>
                <a:cubicBezTo>
                  <a:pt x="1238" y="453"/>
                  <a:pt x="1240" y="465"/>
                  <a:pt x="1242" y="478"/>
                </a:cubicBezTo>
                <a:cubicBezTo>
                  <a:pt x="1243" y="478"/>
                  <a:pt x="1243" y="478"/>
                  <a:pt x="1243" y="478"/>
                </a:cubicBezTo>
                <a:cubicBezTo>
                  <a:pt x="1244" y="469"/>
                  <a:pt x="1246" y="456"/>
                  <a:pt x="1250" y="440"/>
                </a:cubicBezTo>
                <a:cubicBezTo>
                  <a:pt x="1332" y="133"/>
                  <a:pt x="1332" y="133"/>
                  <a:pt x="1332" y="133"/>
                </a:cubicBezTo>
                <a:lnTo>
                  <a:pt x="1382" y="133"/>
                </a:lnTo>
                <a:close/>
                <a:moveTo>
                  <a:pt x="1475" y="153"/>
                </a:moveTo>
                <a:cubicBezTo>
                  <a:pt x="1475" y="162"/>
                  <a:pt x="1472" y="169"/>
                  <a:pt x="1466" y="174"/>
                </a:cubicBezTo>
                <a:cubicBezTo>
                  <a:pt x="1461" y="180"/>
                  <a:pt x="1453" y="183"/>
                  <a:pt x="1445" y="183"/>
                </a:cubicBezTo>
                <a:cubicBezTo>
                  <a:pt x="1437" y="183"/>
                  <a:pt x="1430" y="180"/>
                  <a:pt x="1424" y="175"/>
                </a:cubicBezTo>
                <a:cubicBezTo>
                  <a:pt x="1418" y="169"/>
                  <a:pt x="1416" y="162"/>
                  <a:pt x="1416" y="153"/>
                </a:cubicBezTo>
                <a:cubicBezTo>
                  <a:pt x="1416" y="145"/>
                  <a:pt x="1418" y="138"/>
                  <a:pt x="1424" y="132"/>
                </a:cubicBezTo>
                <a:cubicBezTo>
                  <a:pt x="1430" y="127"/>
                  <a:pt x="1437" y="124"/>
                  <a:pt x="1445" y="124"/>
                </a:cubicBezTo>
                <a:cubicBezTo>
                  <a:pt x="1454" y="124"/>
                  <a:pt x="1461" y="127"/>
                  <a:pt x="1467" y="132"/>
                </a:cubicBezTo>
                <a:cubicBezTo>
                  <a:pt x="1472" y="138"/>
                  <a:pt x="1475" y="145"/>
                  <a:pt x="1475" y="153"/>
                </a:cubicBezTo>
                <a:close/>
                <a:moveTo>
                  <a:pt x="1468" y="532"/>
                </a:moveTo>
                <a:cubicBezTo>
                  <a:pt x="1422" y="532"/>
                  <a:pt x="1422" y="532"/>
                  <a:pt x="1422" y="532"/>
                </a:cubicBezTo>
                <a:cubicBezTo>
                  <a:pt x="1422" y="247"/>
                  <a:pt x="1422" y="247"/>
                  <a:pt x="1422" y="247"/>
                </a:cubicBezTo>
                <a:cubicBezTo>
                  <a:pt x="1468" y="247"/>
                  <a:pt x="1468" y="247"/>
                  <a:pt x="1468" y="247"/>
                </a:cubicBezTo>
                <a:lnTo>
                  <a:pt x="1468" y="532"/>
                </a:lnTo>
                <a:close/>
                <a:moveTo>
                  <a:pt x="1772" y="532"/>
                </a:moveTo>
                <a:cubicBezTo>
                  <a:pt x="1726" y="532"/>
                  <a:pt x="1726" y="532"/>
                  <a:pt x="1726" y="532"/>
                </a:cubicBezTo>
                <a:cubicBezTo>
                  <a:pt x="1726" y="369"/>
                  <a:pt x="1726" y="369"/>
                  <a:pt x="1726" y="369"/>
                </a:cubicBezTo>
                <a:cubicBezTo>
                  <a:pt x="1726" y="309"/>
                  <a:pt x="1704" y="279"/>
                  <a:pt x="1660" y="279"/>
                </a:cubicBezTo>
                <a:cubicBezTo>
                  <a:pt x="1638" y="279"/>
                  <a:pt x="1619" y="288"/>
                  <a:pt x="1604" y="305"/>
                </a:cubicBezTo>
                <a:cubicBezTo>
                  <a:pt x="1589" y="322"/>
                  <a:pt x="1581" y="343"/>
                  <a:pt x="1581" y="369"/>
                </a:cubicBezTo>
                <a:cubicBezTo>
                  <a:pt x="1581" y="532"/>
                  <a:pt x="1581" y="532"/>
                  <a:pt x="1581" y="532"/>
                </a:cubicBezTo>
                <a:cubicBezTo>
                  <a:pt x="1536" y="532"/>
                  <a:pt x="1536" y="532"/>
                  <a:pt x="1536" y="532"/>
                </a:cubicBezTo>
                <a:cubicBezTo>
                  <a:pt x="1536" y="247"/>
                  <a:pt x="1536" y="247"/>
                  <a:pt x="1536" y="247"/>
                </a:cubicBezTo>
                <a:cubicBezTo>
                  <a:pt x="1581" y="247"/>
                  <a:pt x="1581" y="247"/>
                  <a:pt x="1581" y="247"/>
                </a:cubicBezTo>
                <a:cubicBezTo>
                  <a:pt x="1581" y="294"/>
                  <a:pt x="1581" y="294"/>
                  <a:pt x="1581" y="294"/>
                </a:cubicBezTo>
                <a:cubicBezTo>
                  <a:pt x="1583" y="294"/>
                  <a:pt x="1583" y="294"/>
                  <a:pt x="1583" y="294"/>
                </a:cubicBezTo>
                <a:cubicBezTo>
                  <a:pt x="1604" y="258"/>
                  <a:pt x="1635" y="240"/>
                  <a:pt x="1676" y="240"/>
                </a:cubicBezTo>
                <a:cubicBezTo>
                  <a:pt x="1707" y="240"/>
                  <a:pt x="1731" y="250"/>
                  <a:pt x="1747" y="271"/>
                </a:cubicBezTo>
                <a:cubicBezTo>
                  <a:pt x="1764" y="291"/>
                  <a:pt x="1772" y="320"/>
                  <a:pt x="1772" y="358"/>
                </a:cubicBezTo>
                <a:lnTo>
                  <a:pt x="1772" y="532"/>
                </a:lnTo>
                <a:close/>
                <a:moveTo>
                  <a:pt x="2087" y="532"/>
                </a:moveTo>
                <a:cubicBezTo>
                  <a:pt x="2041" y="532"/>
                  <a:pt x="2041" y="532"/>
                  <a:pt x="2041" y="532"/>
                </a:cubicBezTo>
                <a:cubicBezTo>
                  <a:pt x="2041" y="483"/>
                  <a:pt x="2041" y="483"/>
                  <a:pt x="2041" y="483"/>
                </a:cubicBezTo>
                <a:cubicBezTo>
                  <a:pt x="2040" y="483"/>
                  <a:pt x="2040" y="483"/>
                  <a:pt x="2040" y="483"/>
                </a:cubicBezTo>
                <a:cubicBezTo>
                  <a:pt x="2019" y="520"/>
                  <a:pt x="1986" y="539"/>
                  <a:pt x="1942" y="539"/>
                </a:cubicBezTo>
                <a:cubicBezTo>
                  <a:pt x="1906" y="539"/>
                  <a:pt x="1878" y="526"/>
                  <a:pt x="1856" y="500"/>
                </a:cubicBezTo>
                <a:cubicBezTo>
                  <a:pt x="1835" y="474"/>
                  <a:pt x="1824" y="440"/>
                  <a:pt x="1824" y="396"/>
                </a:cubicBezTo>
                <a:cubicBezTo>
                  <a:pt x="1824" y="349"/>
                  <a:pt x="1836" y="312"/>
                  <a:pt x="1860" y="283"/>
                </a:cubicBezTo>
                <a:cubicBezTo>
                  <a:pt x="1883" y="255"/>
                  <a:pt x="1915" y="240"/>
                  <a:pt x="1955" y="240"/>
                </a:cubicBezTo>
                <a:cubicBezTo>
                  <a:pt x="1993" y="240"/>
                  <a:pt x="2022" y="256"/>
                  <a:pt x="2040" y="286"/>
                </a:cubicBezTo>
                <a:cubicBezTo>
                  <a:pt x="2041" y="286"/>
                  <a:pt x="2041" y="286"/>
                  <a:pt x="2041" y="286"/>
                </a:cubicBezTo>
                <a:cubicBezTo>
                  <a:pt x="2041" y="110"/>
                  <a:pt x="2041" y="110"/>
                  <a:pt x="2041" y="110"/>
                </a:cubicBezTo>
                <a:cubicBezTo>
                  <a:pt x="2087" y="110"/>
                  <a:pt x="2087" y="110"/>
                  <a:pt x="2087" y="110"/>
                </a:cubicBezTo>
                <a:lnTo>
                  <a:pt x="2087" y="532"/>
                </a:lnTo>
                <a:close/>
                <a:moveTo>
                  <a:pt x="2041" y="403"/>
                </a:moveTo>
                <a:cubicBezTo>
                  <a:pt x="2041" y="361"/>
                  <a:pt x="2041" y="361"/>
                  <a:pt x="2041" y="361"/>
                </a:cubicBezTo>
                <a:cubicBezTo>
                  <a:pt x="2041" y="338"/>
                  <a:pt x="2033" y="318"/>
                  <a:pt x="2018" y="303"/>
                </a:cubicBezTo>
                <a:cubicBezTo>
                  <a:pt x="2002" y="287"/>
                  <a:pt x="1983" y="279"/>
                  <a:pt x="1960" y="279"/>
                </a:cubicBezTo>
                <a:cubicBezTo>
                  <a:pt x="1933" y="279"/>
                  <a:pt x="1911" y="289"/>
                  <a:pt x="1895" y="310"/>
                </a:cubicBezTo>
                <a:cubicBezTo>
                  <a:pt x="1879" y="330"/>
                  <a:pt x="1871" y="358"/>
                  <a:pt x="1871" y="394"/>
                </a:cubicBezTo>
                <a:cubicBezTo>
                  <a:pt x="1871" y="427"/>
                  <a:pt x="1879" y="452"/>
                  <a:pt x="1894" y="471"/>
                </a:cubicBezTo>
                <a:cubicBezTo>
                  <a:pt x="1909" y="490"/>
                  <a:pt x="1929" y="500"/>
                  <a:pt x="1955" y="500"/>
                </a:cubicBezTo>
                <a:cubicBezTo>
                  <a:pt x="1980" y="500"/>
                  <a:pt x="2001" y="491"/>
                  <a:pt x="2017" y="473"/>
                </a:cubicBezTo>
                <a:cubicBezTo>
                  <a:pt x="2033" y="454"/>
                  <a:pt x="2041" y="431"/>
                  <a:pt x="2041" y="403"/>
                </a:cubicBezTo>
                <a:close/>
                <a:moveTo>
                  <a:pt x="2425" y="388"/>
                </a:moveTo>
                <a:cubicBezTo>
                  <a:pt x="2425" y="434"/>
                  <a:pt x="2412" y="470"/>
                  <a:pt x="2387" y="497"/>
                </a:cubicBezTo>
                <a:cubicBezTo>
                  <a:pt x="2361" y="525"/>
                  <a:pt x="2327" y="539"/>
                  <a:pt x="2284" y="539"/>
                </a:cubicBezTo>
                <a:cubicBezTo>
                  <a:pt x="2242" y="539"/>
                  <a:pt x="2208" y="525"/>
                  <a:pt x="2183" y="499"/>
                </a:cubicBezTo>
                <a:cubicBezTo>
                  <a:pt x="2158" y="472"/>
                  <a:pt x="2145" y="437"/>
                  <a:pt x="2145" y="393"/>
                </a:cubicBezTo>
                <a:cubicBezTo>
                  <a:pt x="2145" y="346"/>
                  <a:pt x="2158" y="309"/>
                  <a:pt x="2184" y="281"/>
                </a:cubicBezTo>
                <a:cubicBezTo>
                  <a:pt x="2210" y="254"/>
                  <a:pt x="2245" y="240"/>
                  <a:pt x="2290" y="240"/>
                </a:cubicBezTo>
                <a:cubicBezTo>
                  <a:pt x="2332" y="240"/>
                  <a:pt x="2366" y="253"/>
                  <a:pt x="2389" y="280"/>
                </a:cubicBezTo>
                <a:cubicBezTo>
                  <a:pt x="2413" y="306"/>
                  <a:pt x="2425" y="342"/>
                  <a:pt x="2425" y="388"/>
                </a:cubicBezTo>
                <a:close/>
                <a:moveTo>
                  <a:pt x="2379" y="390"/>
                </a:moveTo>
                <a:cubicBezTo>
                  <a:pt x="2379" y="354"/>
                  <a:pt x="2371" y="327"/>
                  <a:pt x="2355" y="308"/>
                </a:cubicBezTo>
                <a:cubicBezTo>
                  <a:pt x="2339" y="289"/>
                  <a:pt x="2316" y="279"/>
                  <a:pt x="2287" y="279"/>
                </a:cubicBezTo>
                <a:cubicBezTo>
                  <a:pt x="2258" y="279"/>
                  <a:pt x="2234" y="289"/>
                  <a:pt x="2217" y="308"/>
                </a:cubicBezTo>
                <a:cubicBezTo>
                  <a:pt x="2200" y="328"/>
                  <a:pt x="2192" y="356"/>
                  <a:pt x="2192" y="391"/>
                </a:cubicBezTo>
                <a:cubicBezTo>
                  <a:pt x="2192" y="425"/>
                  <a:pt x="2200" y="452"/>
                  <a:pt x="2218" y="471"/>
                </a:cubicBezTo>
                <a:cubicBezTo>
                  <a:pt x="2235" y="490"/>
                  <a:pt x="2258" y="500"/>
                  <a:pt x="2287" y="500"/>
                </a:cubicBezTo>
                <a:cubicBezTo>
                  <a:pt x="2317" y="500"/>
                  <a:pt x="2339" y="490"/>
                  <a:pt x="2355" y="471"/>
                </a:cubicBezTo>
                <a:cubicBezTo>
                  <a:pt x="2371" y="453"/>
                  <a:pt x="2379" y="425"/>
                  <a:pt x="2379" y="390"/>
                </a:cubicBezTo>
                <a:close/>
                <a:moveTo>
                  <a:pt x="2842" y="247"/>
                </a:moveTo>
                <a:cubicBezTo>
                  <a:pt x="2757" y="532"/>
                  <a:pt x="2757" y="532"/>
                  <a:pt x="2757" y="532"/>
                </a:cubicBezTo>
                <a:cubicBezTo>
                  <a:pt x="2710" y="532"/>
                  <a:pt x="2710" y="532"/>
                  <a:pt x="2710" y="532"/>
                </a:cubicBezTo>
                <a:cubicBezTo>
                  <a:pt x="2651" y="328"/>
                  <a:pt x="2651" y="328"/>
                  <a:pt x="2651" y="328"/>
                </a:cubicBezTo>
                <a:cubicBezTo>
                  <a:pt x="2649" y="321"/>
                  <a:pt x="2648" y="312"/>
                  <a:pt x="2647" y="302"/>
                </a:cubicBezTo>
                <a:cubicBezTo>
                  <a:pt x="2646" y="302"/>
                  <a:pt x="2646" y="302"/>
                  <a:pt x="2646" y="302"/>
                </a:cubicBezTo>
                <a:cubicBezTo>
                  <a:pt x="2645" y="308"/>
                  <a:pt x="2643" y="317"/>
                  <a:pt x="2640" y="328"/>
                </a:cubicBezTo>
                <a:cubicBezTo>
                  <a:pt x="2576" y="532"/>
                  <a:pt x="2576" y="532"/>
                  <a:pt x="2576" y="532"/>
                </a:cubicBezTo>
                <a:cubicBezTo>
                  <a:pt x="2531" y="532"/>
                  <a:pt x="2531" y="532"/>
                  <a:pt x="2531" y="532"/>
                </a:cubicBezTo>
                <a:cubicBezTo>
                  <a:pt x="2445" y="247"/>
                  <a:pt x="2445" y="247"/>
                  <a:pt x="2445" y="247"/>
                </a:cubicBezTo>
                <a:cubicBezTo>
                  <a:pt x="2493" y="247"/>
                  <a:pt x="2493" y="247"/>
                  <a:pt x="2493" y="247"/>
                </a:cubicBezTo>
                <a:cubicBezTo>
                  <a:pt x="2551" y="461"/>
                  <a:pt x="2551" y="461"/>
                  <a:pt x="2551" y="461"/>
                </a:cubicBezTo>
                <a:cubicBezTo>
                  <a:pt x="2553" y="469"/>
                  <a:pt x="2554" y="477"/>
                  <a:pt x="2555" y="487"/>
                </a:cubicBezTo>
                <a:cubicBezTo>
                  <a:pt x="2557" y="487"/>
                  <a:pt x="2557" y="487"/>
                  <a:pt x="2557" y="487"/>
                </a:cubicBezTo>
                <a:cubicBezTo>
                  <a:pt x="2558" y="480"/>
                  <a:pt x="2559" y="471"/>
                  <a:pt x="2563" y="461"/>
                </a:cubicBezTo>
                <a:cubicBezTo>
                  <a:pt x="2628" y="247"/>
                  <a:pt x="2628" y="247"/>
                  <a:pt x="2628" y="247"/>
                </a:cubicBezTo>
                <a:cubicBezTo>
                  <a:pt x="2670" y="247"/>
                  <a:pt x="2670" y="247"/>
                  <a:pt x="2670" y="247"/>
                </a:cubicBezTo>
                <a:cubicBezTo>
                  <a:pt x="2729" y="462"/>
                  <a:pt x="2729" y="462"/>
                  <a:pt x="2729" y="462"/>
                </a:cubicBezTo>
                <a:cubicBezTo>
                  <a:pt x="2731" y="469"/>
                  <a:pt x="2732" y="477"/>
                  <a:pt x="2733" y="487"/>
                </a:cubicBezTo>
                <a:cubicBezTo>
                  <a:pt x="2735" y="487"/>
                  <a:pt x="2735" y="487"/>
                  <a:pt x="2735" y="487"/>
                </a:cubicBezTo>
                <a:cubicBezTo>
                  <a:pt x="2735" y="478"/>
                  <a:pt x="2737" y="470"/>
                  <a:pt x="2739" y="462"/>
                </a:cubicBezTo>
                <a:cubicBezTo>
                  <a:pt x="2797" y="247"/>
                  <a:pt x="2797" y="247"/>
                  <a:pt x="2797" y="247"/>
                </a:cubicBezTo>
                <a:lnTo>
                  <a:pt x="2842" y="247"/>
                </a:lnTo>
                <a:close/>
                <a:moveTo>
                  <a:pt x="3039" y="456"/>
                </a:moveTo>
                <a:cubicBezTo>
                  <a:pt x="3039" y="480"/>
                  <a:pt x="3029" y="500"/>
                  <a:pt x="3010" y="516"/>
                </a:cubicBezTo>
                <a:cubicBezTo>
                  <a:pt x="2991" y="531"/>
                  <a:pt x="2966" y="539"/>
                  <a:pt x="2935" y="539"/>
                </a:cubicBezTo>
                <a:cubicBezTo>
                  <a:pt x="2908" y="539"/>
                  <a:pt x="2884" y="533"/>
                  <a:pt x="2864" y="521"/>
                </a:cubicBezTo>
                <a:cubicBezTo>
                  <a:pt x="2864" y="473"/>
                  <a:pt x="2864" y="473"/>
                  <a:pt x="2864" y="473"/>
                </a:cubicBezTo>
                <a:cubicBezTo>
                  <a:pt x="2886" y="491"/>
                  <a:pt x="2911" y="500"/>
                  <a:pt x="2938" y="500"/>
                </a:cubicBezTo>
                <a:cubicBezTo>
                  <a:pt x="2974" y="500"/>
                  <a:pt x="2992" y="487"/>
                  <a:pt x="2992" y="460"/>
                </a:cubicBezTo>
                <a:cubicBezTo>
                  <a:pt x="2992" y="449"/>
                  <a:pt x="2989" y="441"/>
                  <a:pt x="2982" y="434"/>
                </a:cubicBezTo>
                <a:cubicBezTo>
                  <a:pt x="2975" y="427"/>
                  <a:pt x="2959" y="418"/>
                  <a:pt x="2934" y="406"/>
                </a:cubicBezTo>
                <a:cubicBezTo>
                  <a:pt x="2908" y="396"/>
                  <a:pt x="2891" y="384"/>
                  <a:pt x="2880" y="372"/>
                </a:cubicBezTo>
                <a:cubicBezTo>
                  <a:pt x="2870" y="360"/>
                  <a:pt x="2865" y="343"/>
                  <a:pt x="2865" y="323"/>
                </a:cubicBezTo>
                <a:cubicBezTo>
                  <a:pt x="2865" y="299"/>
                  <a:pt x="2874" y="280"/>
                  <a:pt x="2893" y="264"/>
                </a:cubicBezTo>
                <a:cubicBezTo>
                  <a:pt x="2912" y="248"/>
                  <a:pt x="2936" y="240"/>
                  <a:pt x="2965" y="240"/>
                </a:cubicBezTo>
                <a:cubicBezTo>
                  <a:pt x="2987" y="240"/>
                  <a:pt x="3008" y="245"/>
                  <a:pt x="3026" y="254"/>
                </a:cubicBezTo>
                <a:cubicBezTo>
                  <a:pt x="3026" y="299"/>
                  <a:pt x="3026" y="299"/>
                  <a:pt x="3026" y="299"/>
                </a:cubicBezTo>
                <a:cubicBezTo>
                  <a:pt x="3007" y="286"/>
                  <a:pt x="2986" y="279"/>
                  <a:pt x="2961" y="279"/>
                </a:cubicBezTo>
                <a:cubicBezTo>
                  <a:pt x="2946" y="279"/>
                  <a:pt x="2934" y="283"/>
                  <a:pt x="2925" y="290"/>
                </a:cubicBezTo>
                <a:cubicBezTo>
                  <a:pt x="2916" y="298"/>
                  <a:pt x="2911" y="307"/>
                  <a:pt x="2911" y="319"/>
                </a:cubicBezTo>
                <a:cubicBezTo>
                  <a:pt x="2911" y="332"/>
                  <a:pt x="2915" y="341"/>
                  <a:pt x="2922" y="348"/>
                </a:cubicBezTo>
                <a:cubicBezTo>
                  <a:pt x="2929" y="355"/>
                  <a:pt x="2943" y="363"/>
                  <a:pt x="2965" y="372"/>
                </a:cubicBezTo>
                <a:cubicBezTo>
                  <a:pt x="2993" y="383"/>
                  <a:pt x="3012" y="396"/>
                  <a:pt x="3022" y="408"/>
                </a:cubicBezTo>
                <a:cubicBezTo>
                  <a:pt x="3033" y="421"/>
                  <a:pt x="3039" y="437"/>
                  <a:pt x="3039" y="45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89617" tIns="44808" rIns="89617" bIns="44808" numCol="1" anchor="t" anchorCtr="0" compatLnSpc="1">
            <a:prstTxWarp prst="textNoShape">
              <a:avLst/>
            </a:prstTxWarp>
          </a:bodyPr>
          <a:lstStyle/>
          <a:p>
            <a:pPr defTabSz="914016"/>
            <a:endParaRPr lang="en-US" sz="1765">
              <a:solidFill>
                <a:srgbClr val="FFFFFF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2" y="2084186"/>
            <a:ext cx="10431769" cy="1793104"/>
          </a:xfrm>
          <a:noFill/>
        </p:spPr>
        <p:txBody>
          <a:bodyPr lIns="146304" tIns="91440" rIns="146304" bIns="91440" anchor="t" anchorCtr="0"/>
          <a:lstStyle>
            <a:lvl1pPr>
              <a:defRPr sz="5293" spc="-147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4" y="3877290"/>
            <a:ext cx="10431769" cy="1578426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36" spc="-49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pic>
        <p:nvPicPr>
          <p:cNvPr id="7" name="Picture 6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448586" y="6122090"/>
            <a:ext cx="1254995" cy="267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657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5816C4B-F24C-7445-85C6-32FA56B7AD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501254"/>
          </a:xfrm>
        </p:spPr>
        <p:txBody>
          <a:bodyPr lIns="548640" tIns="548640" rIns="548640" bIns="0"/>
          <a:lstStyle>
            <a:lvl1pPr algn="l">
              <a:lnSpc>
                <a:spcPct val="100000"/>
              </a:lnSpc>
              <a:defRPr sz="2400" b="1" i="0" spc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4246456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layout: three columns graphic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C74E6E5-9DAD-4A14-9C20-D9F9150874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424" y="440495"/>
            <a:ext cx="11336039" cy="73934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Graphic layout: three columns graphic and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FB052D15-67DF-4845-863F-FEC853640A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425" y="4927922"/>
            <a:ext cx="3627659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 b="1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A5ECD4C7-D870-4003-9FA8-85EBBED879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81362" y="4927922"/>
            <a:ext cx="3623051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</a:t>
            </a:r>
            <a:r>
              <a:rPr lang="en-US" err="1"/>
              <a:t>Semibold</a:t>
            </a:r>
            <a:r>
              <a:rPr lang="en-US"/>
              <a:t>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A9BECBA-B2CC-4EE6-B54E-9ADB03EB259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6963" y="4927922"/>
            <a:ext cx="3635502" cy="1307666"/>
          </a:xfr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None/>
              <a:defRPr sz="1568">
                <a:solidFill>
                  <a:schemeClr val="accent1"/>
                </a:solidFill>
                <a:latin typeface="+mj-lt"/>
              </a:defRPr>
            </a:lvl1pPr>
            <a:lvl2pPr marL="0" marR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84"/>
              </a:spcAft>
              <a:buClrTx/>
              <a:buSzPct val="90000"/>
              <a:buFont typeface="Arial" panose="020B0604020202020204" pitchFamily="34" charset="0"/>
              <a:buNone/>
              <a:tabLst/>
              <a:defRPr sz="1568">
                <a:solidFill>
                  <a:srgbClr val="000000"/>
                </a:solidFill>
              </a:defRPr>
            </a:lvl2pPr>
            <a:lvl3pPr marL="448193" indent="0">
              <a:buNone/>
              <a:defRPr/>
            </a:lvl3pPr>
            <a:lvl4pPr marL="672290" indent="0">
              <a:buNone/>
              <a:defRPr/>
            </a:lvl4pPr>
            <a:lvl5pPr marL="896386" indent="0">
              <a:buNone/>
              <a:defRPr/>
            </a:lvl5pPr>
          </a:lstStyle>
          <a:p>
            <a:pPr lvl="0"/>
            <a:r>
              <a:rPr lang="en-US"/>
              <a:t>Paragraph title Segoe UI bold 16</a:t>
            </a:r>
          </a:p>
          <a:p>
            <a:pPr lvl="1"/>
            <a:r>
              <a:rPr lang="en-US"/>
              <a:t>Body copy Segoe Regular 16. </a:t>
            </a:r>
            <a:r>
              <a:rPr lang="en-US" err="1"/>
              <a:t>Cavorest</a:t>
            </a:r>
            <a:r>
              <a:rPr lang="en-US"/>
              <a:t> a </a:t>
            </a:r>
            <a:r>
              <a:rPr lang="en-US" err="1"/>
              <a:t>aut</a:t>
            </a:r>
            <a:r>
              <a:rPr lang="en-US"/>
              <a:t> arum </a:t>
            </a:r>
            <a:r>
              <a:rPr lang="en-US" err="1"/>
              <a:t>quam</a:t>
            </a:r>
            <a:r>
              <a:rPr lang="en-US"/>
              <a:t> id eat ape </a:t>
            </a:r>
            <a:r>
              <a:rPr lang="en-US" err="1"/>
              <a:t>est</a:t>
            </a:r>
            <a:r>
              <a:rPr lang="en-US"/>
              <a:t>, qui </a:t>
            </a:r>
            <a:r>
              <a:rPr lang="en-US" err="1"/>
              <a:t>sinc</a:t>
            </a:r>
            <a:r>
              <a:rPr lang="en-US"/>
              <a:t>, </a:t>
            </a:r>
            <a:r>
              <a:rPr lang="en-US" err="1"/>
              <a:t>omnimusdae</a:t>
            </a:r>
            <a:r>
              <a:rPr lang="en-US"/>
              <a:t>. </a:t>
            </a:r>
            <a:r>
              <a:rPr lang="en-US" err="1"/>
              <a:t>Boribus</a:t>
            </a:r>
            <a:r>
              <a:rPr lang="en-US"/>
              <a:t> </a:t>
            </a:r>
            <a:r>
              <a:rPr lang="en-US" err="1"/>
              <a:t>sinctius</a:t>
            </a:r>
            <a:r>
              <a:rPr lang="en-US"/>
              <a:t> </a:t>
            </a:r>
            <a:r>
              <a:rPr lang="en-US" err="1"/>
              <a:t>nimaxime</a:t>
            </a:r>
            <a:r>
              <a:rPr lang="en-US"/>
              <a:t> sit et </a:t>
            </a:r>
            <a:r>
              <a:rPr lang="en-US" err="1"/>
              <a:t>nonsequibus</a:t>
            </a:r>
            <a:r>
              <a:rPr lang="en-US"/>
              <a:t> </a:t>
            </a:r>
            <a:r>
              <a:rPr lang="en-US" err="1"/>
              <a:t>dollendis</a:t>
            </a:r>
            <a:r>
              <a:rPr lang="en-US"/>
              <a:t> as </a:t>
            </a:r>
            <a:r>
              <a:rPr lang="en-US" err="1"/>
              <a:t>autestiat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537699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25650"/>
            <a:ext cx="4161981" cy="1107996"/>
          </a:xfrm>
        </p:spPr>
        <p:txBody>
          <a:bodyPr wrap="square" rIns="0" anchor="b">
            <a:spAutoFit/>
          </a:bodyPr>
          <a:lstStyle>
            <a:lvl1pPr>
              <a:lnSpc>
                <a:spcPct val="100000"/>
              </a:lnSpc>
              <a:defRPr sz="3600" b="0" spc="-4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Title format square photo layout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4200" y="3535541"/>
            <a:ext cx="4162425" cy="307777"/>
          </a:xfrm>
        </p:spPr>
        <p:txBody>
          <a:bodyPr/>
          <a:lstStyle>
            <a:lvl1pPr marL="0" indent="0"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61988" indent="0">
              <a:buNone/>
              <a:defRPr/>
            </a:lvl4pPr>
            <a:lvl5pPr marL="85566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>
            <a:extLst>
              <a:ext uri="{FF2B5EF4-FFF2-40B4-BE49-F238E27FC236}">
                <a16:creationId xmlns:a16="http://schemas.microsoft.com/office/drawing/2014/main" id="{6178F5D2-7CA2-4202-8FD2-95D8F7A2E98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E89C1FB2-6B75-46E5-9AA1-5BE3945FCA2E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7228092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276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981637"/>
            <a:ext cx="4160520" cy="86177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800" b="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Square photo layout with smaller text</a:t>
            </a:r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18102CFD-D7DD-461F-B675-FAE01404E5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334000" y="0"/>
            <a:ext cx="6858000" cy="6858000"/>
          </a:xfrm>
          <a:blipFill>
            <a:blip r:embed="rId2"/>
            <a:stretch>
              <a:fillRect/>
            </a:stretch>
          </a:blipFill>
        </p:spPr>
        <p:txBody>
          <a:bodyPr lIns="0" tIns="201168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00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CE4895D9-8662-4A4F-98D4-0B8BC8B959B8}"/>
              </a:ext>
            </a:extLst>
          </p:cNvPr>
          <p:cNvSpPr txBox="1"/>
          <p:nvPr userDrawn="1"/>
        </p:nvSpPr>
        <p:spPr bwMode="black">
          <a:xfrm>
            <a:off x="96520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24719635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5216" y="3035808"/>
            <a:ext cx="9141397" cy="498598"/>
          </a:xfrm>
          <a:noFill/>
        </p:spPr>
        <p:txBody>
          <a:bodyPr wrap="square" lIns="0" tIns="0" rIns="0" bIns="0" anchor="t" anchorCtr="0">
            <a:spAutoFit/>
          </a:bodyPr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kern="1200" cap="none" spc="-50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06A51A04-EF84-4B1B-9E21-8F15035DF979}"/>
              </a:ext>
            </a:extLst>
          </p:cNvPr>
          <p:cNvSpPr txBox="1"/>
          <p:nvPr userDrawn="1"/>
        </p:nvSpPr>
        <p:spPr bwMode="black">
          <a:xfrm>
            <a:off x="4396015" y="6568123"/>
            <a:ext cx="3399970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00" b="0" spc="150" baseline="0">
                <a:gradFill>
                  <a:gsLst>
                    <a:gs pos="0">
                      <a:schemeClr val="tx1">
                        <a:alpha val="50000"/>
                      </a:schemeClr>
                    </a:gs>
                    <a:gs pos="86000">
                      <a:schemeClr val="tx1">
                        <a:alpha val="50000"/>
                      </a:scheme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8962534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photo and tile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B4B7B0A-C47C-4230-854E-5A6B85186F71}"/>
              </a:ext>
            </a:extLst>
          </p:cNvPr>
          <p:cNvSpPr/>
          <p:nvPr userDrawn="1"/>
        </p:nvSpPr>
        <p:spPr>
          <a:xfrm>
            <a:off x="0" y="1"/>
            <a:ext cx="12190271" cy="6857999"/>
          </a:xfrm>
          <a:prstGeom prst="rect">
            <a:avLst/>
          </a:prstGeom>
          <a:solidFill>
            <a:srgbClr val="000000">
              <a:alpha val="40000"/>
            </a:srgbClr>
          </a:solidFill>
        </p:spPr>
        <p:txBody>
          <a:bodyPr wrap="square" rtlCol="0" anchor="ctr">
            <a:noAutofit/>
          </a:bodyPr>
          <a:lstStyle/>
          <a:p>
            <a:pPr defTabSz="932563">
              <a:defRPr/>
            </a:pPr>
            <a:endParaRPr lang="en-US" sz="2000" b="1">
              <a:solidFill>
                <a:srgbClr val="2F2F2F"/>
              </a:solidFill>
              <a:latin typeface="Segoe UI" panose="020B0502040204020203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69303" y="2648455"/>
            <a:ext cx="6274911" cy="1793104"/>
          </a:xfrm>
          <a:noFill/>
        </p:spPr>
        <p:txBody>
          <a:bodyPr lIns="146304" tIns="91440" rIns="146304" bIns="91440" anchor="t" anchorCtr="0"/>
          <a:lstStyle>
            <a:lvl1pPr>
              <a:defRPr sz="4800" spc="-9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67683" y="4773828"/>
            <a:ext cx="6276530" cy="553998"/>
          </a:xfrm>
        </p:spPr>
        <p:txBody>
          <a:bodyPr wrap="square" lIns="164592" tIns="109728" rIns="164592" bIns="109728">
            <a:sp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553643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6" y="0"/>
            <a:ext cx="1219112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6" y="881923"/>
            <a:ext cx="7454644" cy="2649187"/>
          </a:xfrm>
          <a:noFill/>
        </p:spPr>
        <p:txBody>
          <a:bodyPr wrap="square" lIns="0" tIns="0" rIns="0" bIns="0" anchor="t" anchorCtr="0">
            <a:noAutofit/>
          </a:bodyPr>
          <a:lstStyle>
            <a:lvl1pPr>
              <a:lnSpc>
                <a:spcPts val="5489"/>
              </a:lnSpc>
              <a:defRPr sz="5293" spc="-147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6521163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ck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7294089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5998" y="620431"/>
            <a:ext cx="11306469" cy="403137"/>
          </a:xfrm>
        </p:spPr>
        <p:txBody>
          <a:bodyPr wrap="square" lIns="0" tIns="0" rIns="0" bIns="0" anchor="ctr">
            <a:spAutoFit/>
          </a:bodyPr>
          <a:lstStyle>
            <a:lvl1pPr>
              <a:lnSpc>
                <a:spcPts val="3075"/>
              </a:lnSpc>
              <a:defRPr sz="2745" strike="noStrike">
                <a:solidFill>
                  <a:srgbClr val="2F2F2F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27A0659-E0B2-44F6-B4DF-1BF31497F2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13054" y="1166932"/>
            <a:ext cx="7278947" cy="5691068"/>
          </a:xfrm>
          <a:prstGeom prst="rect">
            <a:avLst/>
          </a:prstGeom>
        </p:spPr>
      </p:pic>
      <p:pic>
        <p:nvPicPr>
          <p:cNvPr id="5" name="Picture 4" descr="A screenshot of a computer&#10;&#10;Description generated with very high confidence">
            <a:extLst>
              <a:ext uri="{FF2B5EF4-FFF2-40B4-BE49-F238E27FC236}">
                <a16:creationId xmlns:a16="http://schemas.microsoft.com/office/drawing/2014/main" id="{4C2C783E-C3C4-4908-A60D-1931FA7525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13054" y="1161160"/>
            <a:ext cx="7278947" cy="5696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37202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0.xml"/><Relationship Id="rId13" Type="http://schemas.openxmlformats.org/officeDocument/2006/relationships/slideLayout" Target="../slideLayouts/slideLayout205.xml"/><Relationship Id="rId18" Type="http://schemas.openxmlformats.org/officeDocument/2006/relationships/image" Target="../media/image28.emf"/><Relationship Id="rId3" Type="http://schemas.openxmlformats.org/officeDocument/2006/relationships/slideLayout" Target="../slideLayouts/slideLayout195.xml"/><Relationship Id="rId7" Type="http://schemas.openxmlformats.org/officeDocument/2006/relationships/slideLayout" Target="../slideLayouts/slideLayout199.xml"/><Relationship Id="rId12" Type="http://schemas.openxmlformats.org/officeDocument/2006/relationships/slideLayout" Target="../slideLayouts/slideLayout204.xml"/><Relationship Id="rId17" Type="http://schemas.openxmlformats.org/officeDocument/2006/relationships/theme" Target="../theme/theme10.xml"/><Relationship Id="rId2" Type="http://schemas.openxmlformats.org/officeDocument/2006/relationships/slideLayout" Target="../slideLayouts/slideLayout194.xml"/><Relationship Id="rId16" Type="http://schemas.openxmlformats.org/officeDocument/2006/relationships/slideLayout" Target="../slideLayouts/slideLayout208.xml"/><Relationship Id="rId1" Type="http://schemas.openxmlformats.org/officeDocument/2006/relationships/slideLayout" Target="../slideLayouts/slideLayout193.xml"/><Relationship Id="rId6" Type="http://schemas.openxmlformats.org/officeDocument/2006/relationships/slideLayout" Target="../slideLayouts/slideLayout198.xml"/><Relationship Id="rId11" Type="http://schemas.openxmlformats.org/officeDocument/2006/relationships/slideLayout" Target="../slideLayouts/slideLayout203.xml"/><Relationship Id="rId5" Type="http://schemas.openxmlformats.org/officeDocument/2006/relationships/slideLayout" Target="../slideLayouts/slideLayout197.xml"/><Relationship Id="rId1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02.xml"/><Relationship Id="rId19" Type="http://schemas.openxmlformats.org/officeDocument/2006/relationships/image" Target="../media/image46.png"/><Relationship Id="rId4" Type="http://schemas.openxmlformats.org/officeDocument/2006/relationships/slideLayout" Target="../slideLayouts/slideLayout196.xml"/><Relationship Id="rId9" Type="http://schemas.openxmlformats.org/officeDocument/2006/relationships/slideLayout" Target="../slideLayouts/slideLayout201.xml"/><Relationship Id="rId14" Type="http://schemas.openxmlformats.org/officeDocument/2006/relationships/slideLayout" Target="../slideLayouts/slideLayout206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1.xml"/><Relationship Id="rId2" Type="http://schemas.openxmlformats.org/officeDocument/2006/relationships/slideLayout" Target="../slideLayouts/slideLayout210.xml"/><Relationship Id="rId1" Type="http://schemas.openxmlformats.org/officeDocument/2006/relationships/slideLayout" Target="../slideLayouts/slideLayout209.xml"/><Relationship Id="rId4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34" Type="http://schemas.openxmlformats.org/officeDocument/2006/relationships/slideLayout" Target="../slideLayouts/slideLayout64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slideLayout" Target="../slideLayouts/slideLayout63.xml"/><Relationship Id="rId38" Type="http://schemas.openxmlformats.org/officeDocument/2006/relationships/image" Target="../media/image14.emf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slideLayout" Target="../slideLayouts/slideLayout6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36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slideLayout" Target="../slideLayouts/slideLayout61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slideLayout" Target="../slideLayouts/slideLayout6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34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slideLayout" Target="../slideLayouts/slideLayout99.xml"/><Relationship Id="rId38" Type="http://schemas.openxmlformats.org/officeDocument/2006/relationships/slideLayout" Target="../slideLayouts/slideLayout104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95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slideLayout" Target="../slideLayouts/slideLayout98.xml"/><Relationship Id="rId37" Type="http://schemas.openxmlformats.org/officeDocument/2006/relationships/slideLayout" Target="../slideLayouts/slideLayout103.xml"/><Relationship Id="rId40" Type="http://schemas.openxmlformats.org/officeDocument/2006/relationships/image" Target="../media/image14.emf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slideLayout" Target="../slideLayouts/slideLayout94.xml"/><Relationship Id="rId36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slideLayout" Target="../slideLayouts/slideLayout97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slideLayout" Target="../slideLayouts/slideLayout93.xml"/><Relationship Id="rId30" Type="http://schemas.openxmlformats.org/officeDocument/2006/relationships/slideLayout" Target="../slideLayouts/slideLayout96.xml"/><Relationship Id="rId35" Type="http://schemas.openxmlformats.org/officeDocument/2006/relationships/slideLayout" Target="../slideLayouts/slideLayout10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image" Target="../media/image28.emf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8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29" Type="http://schemas.openxmlformats.org/officeDocument/2006/relationships/image" Target="../media/image28.emf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theme" Target="../theme/theme7.xml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slideLayout" Target="../slideLayouts/slideLayout15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61.xml"/><Relationship Id="rId21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24" Type="http://schemas.openxmlformats.org/officeDocument/2006/relationships/theme" Target="../theme/theme8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23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68.xml"/><Relationship Id="rId19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slideLayout" Target="../slideLayouts/slideLayout18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8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91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 rot="5400000">
            <a:off x="9208748" y="2991034"/>
            <a:ext cx="6858623" cy="876557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704008-FBBA-4B29-BC10-3C85E5306F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9812" y="6474165"/>
            <a:ext cx="2742188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F0A7C2-12B9-4AF8-A7F5-DFD4E93065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3795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transition>
    <p:fade/>
  </p:transition>
  <p:hf hdr="0" ft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9383" y="438785"/>
            <a:ext cx="11333080" cy="741053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429383" y="2124488"/>
            <a:ext cx="11333080" cy="12764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976F6F8-4139-4D95-AC74-D58A77230BD6}"/>
              </a:ext>
            </a:extLst>
          </p:cNvPr>
          <p:cNvGrpSpPr/>
          <p:nvPr userDrawn="1"/>
        </p:nvGrpSpPr>
        <p:grpSpPr>
          <a:xfrm>
            <a:off x="13042277" y="608049"/>
            <a:ext cx="762212" cy="6249956"/>
            <a:chOff x="13152703" y="620154"/>
            <a:chExt cx="777496" cy="6374376"/>
          </a:xfrm>
        </p:grpSpPr>
        <p:pic>
          <p:nvPicPr>
            <p:cNvPr id="5" name="Picture 4"/>
            <p:cNvPicPr>
              <a:picLocks noChangeAspect="1"/>
            </p:cNvPicPr>
            <p:nvPr userDrawn="1"/>
          </p:nvPicPr>
          <p:blipFill rotWithShape="1">
            <a:blip r:embed="rId1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3" r="32"/>
            <a:stretch/>
          </p:blipFill>
          <p:spPr>
            <a:xfrm rot="5400000">
              <a:off x="10354263" y="3418594"/>
              <a:ext cx="6374376" cy="777496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964AF21-BDED-4B34-9026-5541103F0CE4}"/>
                </a:ext>
              </a:extLst>
            </p:cNvPr>
            <p:cNvSpPr txBox="1"/>
            <p:nvPr userDrawn="1"/>
          </p:nvSpPr>
          <p:spPr>
            <a:xfrm rot="5400000">
              <a:off x="12905715" y="867145"/>
              <a:ext cx="577081" cy="831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588">
                  <a:solidFill>
                    <a:schemeClr val="tx1"/>
                  </a:solidFill>
                </a:rPr>
                <a:t>Microsoft palette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BAEE98DB-090A-4DF4-AA3B-C90AD6676A47}"/>
              </a:ext>
            </a:extLst>
          </p:cNvPr>
          <p:cNvGrpSpPr/>
          <p:nvPr userDrawn="1"/>
        </p:nvGrpSpPr>
        <p:grpSpPr>
          <a:xfrm>
            <a:off x="12317498" y="604906"/>
            <a:ext cx="520495" cy="6253096"/>
            <a:chOff x="12419367" y="616948"/>
            <a:chExt cx="530932" cy="6377579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EA717DA-903F-4934-BC3A-B053C9AA6EF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9568605" y="3612834"/>
              <a:ext cx="6377579" cy="385808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8392C23-FA77-442E-BE3C-BC9963AE45BD}"/>
                </a:ext>
              </a:extLst>
            </p:cNvPr>
            <p:cNvSpPr txBox="1"/>
            <p:nvPr userDrawn="1"/>
          </p:nvSpPr>
          <p:spPr>
            <a:xfrm rot="5400000">
              <a:off x="12153941" y="882374"/>
              <a:ext cx="613951" cy="831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spcAft>
                  <a:spcPts val="588"/>
                </a:spcAft>
              </a:pPr>
              <a:r>
                <a:rPr lang="en-US" sz="588">
                  <a:solidFill>
                    <a:schemeClr val="tx1"/>
                  </a:solidFill>
                </a:rPr>
                <a:t>Illustration palette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C4E8054-BD9F-409A-9535-C24729DA0947}"/>
              </a:ext>
            </a:extLst>
          </p:cNvPr>
          <p:cNvGrpSpPr/>
          <p:nvPr userDrawn="1"/>
        </p:nvGrpSpPr>
        <p:grpSpPr>
          <a:xfrm>
            <a:off x="12317497" y="1"/>
            <a:ext cx="1471682" cy="447461"/>
            <a:chOff x="12419366" y="0"/>
            <a:chExt cx="1501192" cy="45636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9E58EE2C-0848-450C-AD44-4AEC62696286}"/>
                </a:ext>
              </a:extLst>
            </p:cNvPr>
            <p:cNvGrpSpPr/>
            <p:nvPr userDrawn="1"/>
          </p:nvGrpSpPr>
          <p:grpSpPr>
            <a:xfrm>
              <a:off x="12564490" y="0"/>
              <a:ext cx="1356068" cy="456369"/>
              <a:chOff x="12661790" y="0"/>
              <a:chExt cx="1201618" cy="404391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1E6B14A8-85BE-4568-A496-3E8015CDE374}"/>
                  </a:ext>
                </a:extLst>
              </p:cNvPr>
              <p:cNvSpPr/>
              <p:nvPr userDrawn="1"/>
            </p:nvSpPr>
            <p:spPr bwMode="auto">
              <a:xfrm>
                <a:off x="12661790" y="1"/>
                <a:ext cx="399048" cy="39808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27432" tIns="45720" rIns="27432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>
                    <a:solidFill>
                      <a:srgbClr val="000000"/>
                    </a:solidFill>
                    <a:ea typeface="Segoe UI" pitchFamily="34" charset="0"/>
                    <a:cs typeface="Segoe UI" pitchFamily="34" charset="0"/>
                  </a:rPr>
                  <a:t>Whit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94">
                    <a:solidFill>
                      <a:srgbClr val="000000"/>
                    </a:solidFill>
                    <a:ea typeface="Segoe UI" pitchFamily="34" charset="0"/>
                    <a:cs typeface="Segoe UI" pitchFamily="34" charset="0"/>
                  </a:rPr>
                  <a:t>R255 G255 B255</a:t>
                </a:r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8566B721-F701-489A-BBBF-284DD1BA035B}"/>
                  </a:ext>
                </a:extLst>
              </p:cNvPr>
              <p:cNvSpPr/>
              <p:nvPr userDrawn="1"/>
            </p:nvSpPr>
            <p:spPr bwMode="auto">
              <a:xfrm>
                <a:off x="13063844" y="0"/>
                <a:ext cx="399048" cy="398081"/>
              </a:xfrm>
              <a:prstGeom prst="rect">
                <a:avLst/>
              </a:prstGeom>
              <a:solidFill>
                <a:srgbClr val="0078D7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27432" tIns="45720" rIns="27432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>
                    <a:solidFill>
                      <a:srgbClr val="FFFFFF"/>
                    </a:solidFill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94">
                    <a:solidFill>
                      <a:srgbClr val="FFFFFF"/>
                    </a:solidFill>
                    <a:ea typeface="Segoe UI" pitchFamily="34" charset="0"/>
                    <a:cs typeface="Segoe UI" pitchFamily="34" charset="0"/>
                  </a:rPr>
                  <a:t>R0 G120 B242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871C64D6-DD46-4073-B8A5-59A9D8564C22}"/>
                  </a:ext>
                </a:extLst>
              </p:cNvPr>
              <p:cNvSpPr/>
              <p:nvPr userDrawn="1"/>
            </p:nvSpPr>
            <p:spPr bwMode="auto">
              <a:xfrm>
                <a:off x="13464360" y="6310"/>
                <a:ext cx="399048" cy="398081"/>
              </a:xfrm>
              <a:prstGeom prst="rect">
                <a:avLst/>
              </a:prstGeom>
              <a:solidFill>
                <a:srgbClr val="F3F3F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vert" wrap="square" lIns="27432" tIns="45720" rIns="27432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490" b="1">
                    <a:solidFill>
                      <a:srgbClr val="000000"/>
                    </a:solidFill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1410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294">
                    <a:solidFill>
                      <a:srgbClr val="000000"/>
                    </a:solidFill>
                    <a:ea typeface="Segoe UI" pitchFamily="34" charset="0"/>
                    <a:cs typeface="Segoe UI" pitchFamily="34" charset="0"/>
                  </a:rPr>
                  <a:t>R243 G243 B243</a:t>
                </a: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8756331-43B5-4A4E-BCD3-F5DC6699B11A}"/>
                </a:ext>
              </a:extLst>
            </p:cNvPr>
            <p:cNvSpPr txBox="1"/>
            <p:nvPr userDrawn="1"/>
          </p:nvSpPr>
          <p:spPr>
            <a:xfrm rot="5400000">
              <a:off x="12284585" y="134782"/>
              <a:ext cx="352661" cy="831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l">
                <a:lnSpc>
                  <a:spcPct val="90000"/>
                </a:lnSpc>
                <a:spcAft>
                  <a:spcPts val="588"/>
                </a:spcAft>
              </a:pPr>
              <a:r>
                <a:rPr lang="en-US" sz="588">
                  <a:solidFill>
                    <a:schemeClr val="tx1"/>
                  </a:solidFill>
                </a:rPr>
                <a:t>BG palett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4544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  <p:sldLayoutId id="2147483901" r:id="rId12"/>
    <p:sldLayoutId id="2147483902" r:id="rId13"/>
    <p:sldLayoutId id="2147483903" r:id="rId14"/>
    <p:sldLayoutId id="2147483904" r:id="rId15"/>
    <p:sldLayoutId id="2147483905" r:id="rId16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3137" b="0" kern="1200" cap="none" spc="-147" baseline="0" dirty="0" smtClean="0">
          <a:ln w="3175">
            <a:noFill/>
          </a:ln>
          <a:solidFill>
            <a:srgbClr val="000000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549" kern="1200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224097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961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448193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672290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896386" marR="0" indent="0" algn="l" defTabSz="914367" rtl="0" eaLnBrk="1" fontAlgn="auto" latinLnBrk="0" hangingPunct="1">
        <a:lnSpc>
          <a:spcPct val="90000"/>
        </a:lnSpc>
        <a:spcBef>
          <a:spcPts val="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8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1373">
          <p15:clr>
            <a:srgbClr val="C35EA4"/>
          </p15:clr>
        </p15:guide>
        <p15:guide id="4" pos="1517">
          <p15:clr>
            <a:srgbClr val="C35EA4"/>
          </p15:clr>
        </p15:guide>
        <p15:guide id="5" pos="2608">
          <p15:clr>
            <a:srgbClr val="C35EA4"/>
          </p15:clr>
        </p15:guide>
        <p15:guide id="6" pos="2751">
          <p15:clr>
            <a:srgbClr val="C35EA4"/>
          </p15:clr>
        </p15:guide>
        <p15:guide id="7" pos="3844">
          <p15:clr>
            <a:srgbClr val="C35EA4"/>
          </p15:clr>
        </p15:guide>
        <p15:guide id="8" pos="3989">
          <p15:clr>
            <a:srgbClr val="C35EA4"/>
          </p15:clr>
        </p15:guide>
        <p15:guide id="9" pos="5079">
          <p15:clr>
            <a:srgbClr val="C35EA4"/>
          </p15:clr>
        </p15:guide>
        <p15:guide id="10" pos="5222">
          <p15:clr>
            <a:srgbClr val="C35EA4"/>
          </p15:clr>
        </p15:guide>
        <p15:guide id="11" pos="6317">
          <p15:clr>
            <a:srgbClr val="C35EA4"/>
          </p15:clr>
        </p15:guide>
        <p15:guide id="12" pos="6460">
          <p15:clr>
            <a:srgbClr val="C35EA4"/>
          </p15:clr>
        </p15:guide>
        <p15:guide id="16" pos="274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8">
          <p15:clr>
            <a:srgbClr val="5ACBF0"/>
          </p15:clr>
        </p15:guide>
        <p15:guide id="19" orient="horz" pos="1363">
          <p15:clr>
            <a:srgbClr val="5ACBF0"/>
          </p15:clr>
        </p15:guide>
        <p15:guide id="20" orient="horz" pos="612">
          <p15:clr>
            <a:srgbClr val="5ACBF0"/>
          </p15:clr>
        </p15:guide>
        <p15:guide id="21" orient="horz" pos="1515">
          <p15:clr>
            <a:srgbClr val="5ACBF0"/>
          </p15:clr>
        </p15:guide>
        <p15:guide id="22" orient="horz" pos="2127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0">
          <p15:clr>
            <a:srgbClr val="F26B43"/>
          </p15:clr>
        </p15:guide>
        <p15:guide id="26" orient="horz" pos="4127">
          <p15:clr>
            <a:srgbClr val="F26B43"/>
          </p15:clr>
        </p15:guide>
        <p15:guide id="27" orient="horz" pos="2889">
          <p15:clr>
            <a:srgbClr val="5ACBF0"/>
          </p15:clr>
        </p15:guide>
        <p15:guide id="28" orient="horz" pos="3032">
          <p15:clr>
            <a:srgbClr val="5ACBF0"/>
          </p15:clr>
        </p15:guide>
        <p15:guide id="29" orient="horz" pos="3648">
          <p15:clr>
            <a:srgbClr val="5ACBF0"/>
          </p15:clr>
        </p15:guide>
        <p15:guide id="30" orient="horz" pos="3792">
          <p15:clr>
            <a:srgbClr val="5ACBF0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5856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3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3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700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4" r:id="rId15"/>
    <p:sldLayoutId id="2147483707" r:id="rId16"/>
    <p:sldLayoutId id="2147483708" r:id="rId17"/>
  </p:sldLayoutIdLst>
  <p:transition>
    <p:fade/>
  </p:transition>
  <p:hf sldNum="0" hdr="0" ftr="0" dt="0"/>
  <p:txStyles>
    <p:titleStyle>
      <a:lvl1pPr algn="l" defTabSz="914016" rtl="0" eaLnBrk="1" latinLnBrk="0" hangingPunct="1">
        <a:lnSpc>
          <a:spcPct val="90000"/>
        </a:lnSpc>
        <a:spcBef>
          <a:spcPct val="0"/>
        </a:spcBef>
        <a:buNone/>
        <a:defRPr lang="en-US" sz="4703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15" marR="0" indent="-336015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1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471" marR="0" indent="-236454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036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047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058" marR="0" indent="-224011" algn="l" defTabSz="914016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3543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2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6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07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016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4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8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5" algn="l" defTabSz="914016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64">
          <p15:clr>
            <a:srgbClr val="5ACBF0"/>
          </p15:clr>
        </p15:guide>
        <p15:guide id="4" pos="1352">
          <p15:clr>
            <a:srgbClr val="5ACBF0"/>
          </p15:clr>
        </p15:guide>
        <p15:guide id="5" pos="1939">
          <p15:clr>
            <a:srgbClr val="5ACBF0"/>
          </p15:clr>
        </p15:guide>
        <p15:guide id="6" pos="2527">
          <p15:clr>
            <a:srgbClr val="5ACBF0"/>
          </p15:clr>
        </p15:guide>
        <p15:guide id="7" pos="3114">
          <p15:clr>
            <a:srgbClr val="5ACBF0"/>
          </p15:clr>
        </p15:guide>
        <p15:guide id="8" pos="3702">
          <p15:clr>
            <a:srgbClr val="5ACBF0"/>
          </p15:clr>
        </p15:guide>
        <p15:guide id="9" pos="4289">
          <p15:clr>
            <a:srgbClr val="5ACBF0"/>
          </p15:clr>
        </p15:guide>
        <p15:guide id="10" pos="4877">
          <p15:clr>
            <a:srgbClr val="5ACBF0"/>
          </p15:clr>
        </p15:guide>
        <p15:guide id="11" pos="5464">
          <p15:clr>
            <a:srgbClr val="5ACBF0"/>
          </p15:clr>
        </p15:guide>
        <p15:guide id="12" pos="6052">
          <p15:clr>
            <a:srgbClr val="5ACBF0"/>
          </p15:clr>
        </p15:guide>
        <p15:guide id="13" pos="6640">
          <p15:clr>
            <a:srgbClr val="5ACBF0"/>
          </p15:clr>
        </p15:guide>
        <p15:guide id="14" pos="7227">
          <p15:clr>
            <a:srgbClr val="5ACBF0"/>
          </p15:clr>
        </p15:guide>
        <p15:guide id="15" pos="7815">
          <p15:clr>
            <a:srgbClr val="5ACBF0"/>
          </p15:clr>
        </p15:guide>
        <p15:guide id="16" pos="294">
          <p15:clr>
            <a:srgbClr val="C35EA4"/>
          </p15:clr>
        </p15:guide>
        <p15:guide id="17" pos="7697">
          <p15:clr>
            <a:srgbClr val="C35EA4"/>
          </p15:clr>
        </p15:guide>
        <p15:guide id="18" orient="horz" pos="778">
          <p15:clr>
            <a:srgbClr val="5ACBF0"/>
          </p15:clr>
        </p15:guide>
        <p15:guide id="19" orient="horz" pos="1366">
          <p15:clr>
            <a:srgbClr val="5ACBF0"/>
          </p15:clr>
        </p15:guide>
        <p15:guide id="20" orient="horz" pos="1953">
          <p15:clr>
            <a:srgbClr val="5ACBF0"/>
          </p15:clr>
        </p15:guide>
        <p15:guide id="21" orient="horz" pos="2541">
          <p15:clr>
            <a:srgbClr val="5ACBF0"/>
          </p15:clr>
        </p15:guide>
        <p15:guide id="22" orient="horz" pos="3128">
          <p15:clr>
            <a:srgbClr val="5ACBF0"/>
          </p15:clr>
        </p15:guide>
        <p15:guide id="23" orient="horz" pos="3716">
          <p15:clr>
            <a:srgbClr val="5ACBF0"/>
          </p15:clr>
        </p15:guide>
        <p15:guide id="24" orient="horz" pos="4303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86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568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2" r:id="rId31"/>
    <p:sldLayoutId id="2147483743" r:id="rId32"/>
    <p:sldLayoutId id="2147483745" r:id="rId33"/>
    <p:sldLayoutId id="2147483746" r:id="rId34"/>
    <p:sldLayoutId id="2147483747" r:id="rId35"/>
    <p:sldLayoutId id="2147483748" r:id="rId36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9" name="NEW Brand Colors 2018">
            <a:extLst>
              <a:ext uri="{FF2B5EF4-FFF2-40B4-BE49-F238E27FC236}">
                <a16:creationId xmlns:a16="http://schemas.microsoft.com/office/drawing/2014/main" id="{9D5783B5-1069-4509-929A-C02C0B0887F7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288988" y="2942644"/>
            <a:ext cx="6858000" cy="972712"/>
          </a:xfrm>
          <a:prstGeom prst="rect">
            <a:avLst/>
          </a:prstGeom>
        </p:spPr>
      </p:pic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8120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  <p:sldLayoutId id="2147483771" r:id="rId22"/>
    <p:sldLayoutId id="2147483772" r:id="rId23"/>
    <p:sldLayoutId id="2147483773" r:id="rId24"/>
    <p:sldLayoutId id="2147483774" r:id="rId25"/>
    <p:sldLayoutId id="2147483776" r:id="rId26"/>
    <p:sldLayoutId id="2147483777" r:id="rId27"/>
    <p:sldLayoutId id="2147483778" r:id="rId28"/>
    <p:sldLayoutId id="2147483779" r:id="rId29"/>
    <p:sldLayoutId id="2147483780" r:id="rId30"/>
    <p:sldLayoutId id="2147483781" r:id="rId31"/>
    <p:sldLayoutId id="2147483782" r:id="rId32"/>
    <p:sldLayoutId id="2147483783" r:id="rId33"/>
    <p:sldLayoutId id="2147483784" r:id="rId34"/>
    <p:sldLayoutId id="2147483785" r:id="rId35"/>
    <p:sldLayoutId id="2147483786" r:id="rId36"/>
    <p:sldLayoutId id="2147483787" r:id="rId37"/>
    <p:sldLayoutId id="2147483788" r:id="rId3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1" kern="1200" cap="none" spc="-5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 rot="5400000">
            <a:off x="9187079" y="3012391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887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  <p:sldLayoutId id="2147483810" r:id="rId21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2"/>
          </p:nvPr>
        </p:nvSpPr>
        <p:spPr>
          <a:xfrm>
            <a:off x="610067" y="6356803"/>
            <a:ext cx="2844904" cy="3642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3A2E29-029D-9B42-9427-4519F1307207}" type="datetime4">
              <a:rPr lang="en-US" smtClean="0"/>
              <a:t>April 8, 2019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067" y="1600096"/>
            <a:ext cx="10971866" cy="4526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219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7" r:id="rId4"/>
    <p:sldLayoutId id="2147483818" r:id="rId5"/>
    <p:sldLayoutId id="2147483819" r:id="rId6"/>
  </p:sldLayoutIdLst>
  <p:hf sldNum="0" hdr="0" ftr="0"/>
  <p:txStyles>
    <p:titleStyle>
      <a:lvl1pPr algn="l" defTabSz="544196" rtl="0" eaLnBrk="1" latinLnBrk="0" hangingPunct="1">
        <a:lnSpc>
          <a:spcPct val="90000"/>
        </a:lnSpc>
        <a:spcBef>
          <a:spcPct val="0"/>
        </a:spcBef>
        <a:buNone/>
        <a:defRPr sz="8627" kern="1200">
          <a:solidFill>
            <a:schemeClr val="bg1"/>
          </a:solidFill>
          <a:latin typeface="Segoe UI Bold" panose="020B0802040204020203" pitchFamily="34" charset="0"/>
          <a:ea typeface="+mj-ea"/>
          <a:cs typeface="Segoe UI Bold" panose="020B0802040204020203" pitchFamily="34" charset="0"/>
        </a:defRPr>
      </a:lvl1pPr>
    </p:titleStyle>
    <p:bodyStyle>
      <a:lvl1pPr marL="0" indent="0" algn="l" defTabSz="544196" rtl="0" eaLnBrk="1" latinLnBrk="0" hangingPunct="1">
        <a:lnSpc>
          <a:spcPct val="100000"/>
        </a:lnSpc>
        <a:spcBef>
          <a:spcPct val="20000"/>
        </a:spcBef>
        <a:buFont typeface="Arial"/>
        <a:buNone/>
        <a:defRPr sz="3529" kern="1200">
          <a:solidFill>
            <a:srgbClr val="CC2606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884319" indent="-340123" algn="l" defTabSz="544196" rtl="0" eaLnBrk="1" latinLnBrk="0" hangingPunct="1">
        <a:lnSpc>
          <a:spcPct val="100000"/>
        </a:lnSpc>
        <a:spcBef>
          <a:spcPct val="20000"/>
        </a:spcBef>
        <a:buFont typeface="Wingdings" charset="2"/>
        <a:buChar char="§"/>
        <a:defRPr sz="3333" kern="1200">
          <a:solidFill>
            <a:srgbClr val="CC2606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360491" indent="-272098" algn="l" defTabSz="544196" rtl="0" eaLnBrk="1" latinLnBrk="0" hangingPunct="1">
        <a:lnSpc>
          <a:spcPct val="100000"/>
        </a:lnSpc>
        <a:spcBef>
          <a:spcPct val="20000"/>
        </a:spcBef>
        <a:buFont typeface="Lucida Grande"/>
        <a:buChar char="–"/>
        <a:defRPr sz="2843" kern="1200">
          <a:solidFill>
            <a:srgbClr val="CC2606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904687" indent="-272098" algn="l" defTabSz="544196" rtl="0" eaLnBrk="1" latinLnBrk="0" hangingPunct="1">
        <a:lnSpc>
          <a:spcPct val="100000"/>
        </a:lnSpc>
        <a:spcBef>
          <a:spcPct val="20000"/>
        </a:spcBef>
        <a:buFont typeface="Arial"/>
        <a:buChar char="–"/>
        <a:defRPr sz="2353" kern="1200">
          <a:solidFill>
            <a:srgbClr val="CC2606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448883" indent="-272098" algn="l" defTabSz="544196" rtl="0" eaLnBrk="1" latinLnBrk="0" hangingPunct="1">
        <a:lnSpc>
          <a:spcPct val="100000"/>
        </a:lnSpc>
        <a:spcBef>
          <a:spcPct val="20000"/>
        </a:spcBef>
        <a:buFont typeface="Arial"/>
        <a:buChar char="»"/>
        <a:defRPr sz="2353" kern="1200">
          <a:solidFill>
            <a:srgbClr val="CC2606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993078" indent="-272098" algn="l" defTabSz="544196" rtl="0" eaLnBrk="1" latinLnBrk="0" hangingPunct="1">
        <a:spcBef>
          <a:spcPct val="20000"/>
        </a:spcBef>
        <a:buFont typeface="Arial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6pPr>
      <a:lvl7pPr marL="3537275" indent="-272098" algn="l" defTabSz="544196" rtl="0" eaLnBrk="1" latinLnBrk="0" hangingPunct="1">
        <a:spcBef>
          <a:spcPct val="20000"/>
        </a:spcBef>
        <a:buFont typeface="Arial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7pPr>
      <a:lvl8pPr marL="4081471" indent="-272098" algn="l" defTabSz="544196" rtl="0" eaLnBrk="1" latinLnBrk="0" hangingPunct="1">
        <a:spcBef>
          <a:spcPct val="20000"/>
        </a:spcBef>
        <a:buFont typeface="Arial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8pPr>
      <a:lvl9pPr marL="4625667" indent="-272098" algn="l" defTabSz="544196" rtl="0" eaLnBrk="1" latinLnBrk="0" hangingPunct="1">
        <a:spcBef>
          <a:spcPct val="20000"/>
        </a:spcBef>
        <a:buFont typeface="Arial"/>
        <a:buChar char="•"/>
        <a:defRPr sz="235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1pPr>
      <a:lvl2pPr marL="544196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2pPr>
      <a:lvl3pPr marL="1088392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3pPr>
      <a:lvl4pPr marL="1632589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4pPr>
      <a:lvl5pPr marL="2176785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5pPr>
      <a:lvl6pPr marL="2720980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6pPr>
      <a:lvl7pPr marL="3265176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7pPr>
      <a:lvl8pPr marL="3809373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8pPr>
      <a:lvl9pPr marL="4353569" algn="l" defTabSz="544196" rtl="0" eaLnBrk="1" latinLnBrk="0" hangingPunct="1">
        <a:defRPr sz="215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1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1" y="1189178"/>
            <a:ext cx="11653521" cy="226326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 rot="5400000">
            <a:off x="9179298" y="3012080"/>
            <a:ext cx="6858623" cy="833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659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  <p:sldLayoutId id="2147483840" r:id="rId20"/>
    <p:sldLayoutId id="2147483841" r:id="rId21"/>
    <p:sldLayoutId id="2147483842" r:id="rId22"/>
    <p:sldLayoutId id="2147483843" r:id="rId23"/>
    <p:sldLayoutId id="2147483844" r:id="rId24"/>
    <p:sldLayoutId id="2147483845" r:id="rId25"/>
    <p:sldLayoutId id="2147483846" r:id="rId26"/>
    <p:sldLayoutId id="2147483847" r:id="rId27"/>
  </p:sldLayoutIdLst>
  <p:transition>
    <p:fade/>
  </p:transition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4705" b="0" kern="1200" cap="none" spc="-147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4097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2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4819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74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2290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96386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20483" marR="0" indent="-224097" algn="l" defTabSz="9143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157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1381">
          <p15:clr>
            <a:srgbClr val="C35EA4"/>
          </p15:clr>
        </p15:guide>
        <p15:guide id="4" pos="1528">
          <p15:clr>
            <a:srgbClr val="C35EA4"/>
          </p15:clr>
        </p15:guide>
        <p15:guide id="5" pos="2618">
          <p15:clr>
            <a:srgbClr val="C35EA4"/>
          </p15:clr>
        </p15:guide>
        <p15:guide id="6" pos="2765">
          <p15:clr>
            <a:srgbClr val="C35EA4"/>
          </p15:clr>
        </p15:guide>
        <p15:guide id="7" pos="3854">
          <p15:clr>
            <a:srgbClr val="C35EA4"/>
          </p15:clr>
        </p15:guide>
        <p15:guide id="8" pos="4003">
          <p15:clr>
            <a:srgbClr val="C35EA4"/>
          </p15:clr>
        </p15:guide>
        <p15:guide id="9" pos="5083">
          <p15:clr>
            <a:srgbClr val="C35EA4"/>
          </p15:clr>
        </p15:guide>
        <p15:guide id="10" pos="5230">
          <p15:clr>
            <a:srgbClr val="C35EA4"/>
          </p15:clr>
        </p15:guide>
        <p15:guide id="11" pos="6323">
          <p15:clr>
            <a:srgbClr val="C35EA4"/>
          </p15:clr>
        </p15:guide>
        <p15:guide id="12" pos="6469">
          <p15:clr>
            <a:srgbClr val="C35EA4"/>
          </p15:clr>
        </p15:guide>
        <p15:guide id="16" pos="293">
          <p15:clr>
            <a:srgbClr val="F26B43"/>
          </p15:clr>
        </p15:guide>
        <p15:guide id="17" pos="7558">
          <p15:clr>
            <a:srgbClr val="F26B43"/>
          </p15:clr>
        </p15:guide>
        <p15:guide id="18" orient="horz" pos="751">
          <p15:clr>
            <a:srgbClr val="5ACBF0"/>
          </p15:clr>
        </p15:guide>
        <p15:guide id="19" orient="horz" pos="1366">
          <p15:clr>
            <a:srgbClr val="5ACBF0"/>
          </p15:clr>
        </p15:guide>
        <p15:guide id="20" orient="horz" pos="605">
          <p15:clr>
            <a:srgbClr val="5ACBF0"/>
          </p15:clr>
        </p15:guide>
        <p15:guide id="21" orient="horz" pos="1514">
          <p15:clr>
            <a:srgbClr val="5ACBF0"/>
          </p15:clr>
        </p15:guide>
        <p15:guide id="22" orient="horz" pos="2130">
          <p15:clr>
            <a:srgbClr val="5ACBF0"/>
          </p15:clr>
        </p15:guide>
        <p15:guide id="23" orient="horz" pos="2275">
          <p15:clr>
            <a:srgbClr val="5ACBF0"/>
          </p15:clr>
        </p15:guide>
        <p15:guide id="25" orient="horz" pos="283">
          <p15:clr>
            <a:srgbClr val="F26B43"/>
          </p15:clr>
        </p15:guide>
        <p15:guide id="26" orient="horz" pos="4120">
          <p15:clr>
            <a:srgbClr val="F26B43"/>
          </p15:clr>
        </p15:guide>
        <p15:guide id="27" orient="horz" pos="2891">
          <p15:clr>
            <a:srgbClr val="5ACBF0"/>
          </p15:clr>
        </p15:guide>
        <p15:guide id="28" orient="horz" pos="3038">
          <p15:clr>
            <a:srgbClr val="5ACBF0"/>
          </p15:clr>
        </p15:guide>
        <p15:guide id="29" orient="horz" pos="3654">
          <p15:clr>
            <a:srgbClr val="5ACBF0"/>
          </p15:clr>
        </p15:guide>
        <p15:guide id="30" orient="horz" pos="3800">
          <p15:clr>
            <a:srgbClr val="5ACBF0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9240" y="289512"/>
            <a:ext cx="11655840" cy="89966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69242" y="1189178"/>
            <a:ext cx="11653521" cy="2052030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5751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64" r:id="rId15"/>
    <p:sldLayoutId id="2147483865" r:id="rId16"/>
    <p:sldLayoutId id="2147483866" r:id="rId17"/>
    <p:sldLayoutId id="2147483867" r:id="rId18"/>
    <p:sldLayoutId id="2147483869" r:id="rId19"/>
    <p:sldLayoutId id="2147483870" r:id="rId20"/>
    <p:sldLayoutId id="2147483872" r:id="rId21"/>
    <p:sldLayoutId id="2147483873" r:id="rId22"/>
    <p:sldLayoutId id="2147483874" r:id="rId23"/>
  </p:sldLayoutIdLst>
  <p:transition>
    <p:fade/>
  </p:transition>
  <p:hf sldNum="0" hdr="0" ftr="0" dt="0"/>
  <p:txStyles>
    <p:titleStyle>
      <a:lvl1pPr algn="l" defTabSz="914192" rtl="0" eaLnBrk="1" latinLnBrk="0" hangingPunct="1">
        <a:lnSpc>
          <a:spcPct val="90000"/>
        </a:lnSpc>
        <a:spcBef>
          <a:spcPct val="0"/>
        </a:spcBef>
        <a:buNone/>
        <a:defRPr lang="en-US" sz="4704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36080" marR="0" indent="-33608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2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2581" marR="0" indent="-236500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353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84187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961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08241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32294" marR="0" indent="-224054" algn="l" defTabSz="91419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65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026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3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219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5" indent="-228548" algn="l" defTabSz="914192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09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3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9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5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0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7" algn="l" defTabSz="914192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91">
          <p15:clr>
            <a:srgbClr val="5ACBF0"/>
          </p15:clr>
        </p15:guide>
        <p15:guide id="2" pos="176">
          <p15:clr>
            <a:srgbClr val="5ACBF0"/>
          </p15:clr>
        </p15:guide>
        <p15:guide id="3" pos="764">
          <p15:clr>
            <a:srgbClr val="5ACBF0"/>
          </p15:clr>
        </p15:guide>
        <p15:guide id="4" pos="1352">
          <p15:clr>
            <a:srgbClr val="5ACBF0"/>
          </p15:clr>
        </p15:guide>
        <p15:guide id="5" pos="1939">
          <p15:clr>
            <a:srgbClr val="5ACBF0"/>
          </p15:clr>
        </p15:guide>
        <p15:guide id="6" pos="2527">
          <p15:clr>
            <a:srgbClr val="5ACBF0"/>
          </p15:clr>
        </p15:guide>
        <p15:guide id="7" pos="3114">
          <p15:clr>
            <a:srgbClr val="5ACBF0"/>
          </p15:clr>
        </p15:guide>
        <p15:guide id="8" pos="3702">
          <p15:clr>
            <a:srgbClr val="5ACBF0"/>
          </p15:clr>
        </p15:guide>
        <p15:guide id="9" pos="4289">
          <p15:clr>
            <a:srgbClr val="5ACBF0"/>
          </p15:clr>
        </p15:guide>
        <p15:guide id="10" pos="4877">
          <p15:clr>
            <a:srgbClr val="5ACBF0"/>
          </p15:clr>
        </p15:guide>
        <p15:guide id="11" pos="5464">
          <p15:clr>
            <a:srgbClr val="5ACBF0"/>
          </p15:clr>
        </p15:guide>
        <p15:guide id="12" pos="6052">
          <p15:clr>
            <a:srgbClr val="5ACBF0"/>
          </p15:clr>
        </p15:guide>
        <p15:guide id="13" pos="6640">
          <p15:clr>
            <a:srgbClr val="5ACBF0"/>
          </p15:clr>
        </p15:guide>
        <p15:guide id="14" pos="7227">
          <p15:clr>
            <a:srgbClr val="5ACBF0"/>
          </p15:clr>
        </p15:guide>
        <p15:guide id="15" pos="7815">
          <p15:clr>
            <a:srgbClr val="5ACBF0"/>
          </p15:clr>
        </p15:guide>
        <p15:guide id="16" pos="294">
          <p15:clr>
            <a:srgbClr val="C35EA4"/>
          </p15:clr>
        </p15:guide>
        <p15:guide id="17" pos="7697">
          <p15:clr>
            <a:srgbClr val="C35EA4"/>
          </p15:clr>
        </p15:guide>
        <p15:guide id="18" orient="horz" pos="778">
          <p15:clr>
            <a:srgbClr val="5ACBF0"/>
          </p15:clr>
        </p15:guide>
        <p15:guide id="19" orient="horz" pos="1366">
          <p15:clr>
            <a:srgbClr val="5ACBF0"/>
          </p15:clr>
        </p15:guide>
        <p15:guide id="20" orient="horz" pos="1953">
          <p15:clr>
            <a:srgbClr val="5ACBF0"/>
          </p15:clr>
        </p15:guide>
        <p15:guide id="21" orient="horz" pos="2541">
          <p15:clr>
            <a:srgbClr val="5ACBF0"/>
          </p15:clr>
        </p15:guide>
        <p15:guide id="22" orient="horz" pos="3128">
          <p15:clr>
            <a:srgbClr val="5ACBF0"/>
          </p15:clr>
        </p15:guide>
        <p15:guide id="23" orient="horz" pos="3716">
          <p15:clr>
            <a:srgbClr val="5ACBF0"/>
          </p15:clr>
        </p15:guide>
        <p15:guide id="24" orient="horz" pos="4303">
          <p15:clr>
            <a:srgbClr val="5ACBF0"/>
          </p15:clr>
        </p15:guide>
        <p15:guide id="25" orient="horz" pos="308">
          <p15:clr>
            <a:srgbClr val="C35EA4"/>
          </p15:clr>
        </p15:guide>
        <p15:guide id="26" orient="horz" pos="4186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95C62AB-5BB8-4A04-BE7D-B162D5FD9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D2ACE3-4D50-4DD5-A4B4-DED39B00E2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C9AFAD-FD6C-4515-A898-F20BE4C283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C15E87-420E-4D9A-ACA8-FA15821DE71B}" type="datetimeFigureOut">
              <a:rPr lang="en-IE" smtClean="0"/>
              <a:t>08/04/2019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300318-9DE4-442A-9389-A917816B6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F252AA-7F5D-4132-BC59-9961011BB0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C6311E-EBFF-4661-9EAC-D3092400D058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4174244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8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10.xml"/><Relationship Id="rId4" Type="http://schemas.openxmlformats.org/officeDocument/2006/relationships/image" Target="../media/image5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210.xml"/><Relationship Id="rId4" Type="http://schemas.openxmlformats.org/officeDocument/2006/relationships/image" Target="../media/image5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docs.microsoft.com/en-ie/intune/licenses" TargetMode="External"/><Relationship Id="rId1" Type="http://schemas.openxmlformats.org/officeDocument/2006/relationships/slideLayout" Target="../slideLayouts/slideLayout2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1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4A075C02-9925-44F5-9052-18E7661C6D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394" y="266700"/>
            <a:ext cx="5201770" cy="178940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68F3296-7098-4747-B57E-674BEF483720}"/>
              </a:ext>
            </a:extLst>
          </p:cNvPr>
          <p:cNvSpPr txBox="1"/>
          <p:nvPr/>
        </p:nvSpPr>
        <p:spPr>
          <a:xfrm>
            <a:off x="565736" y="5462858"/>
            <a:ext cx="5067776" cy="6463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defTabSz="914400">
              <a:defRPr/>
            </a:pPr>
            <a:r>
              <a:rPr lang="en-GB" dirty="0">
                <a:solidFill>
                  <a:prstClr val="black"/>
                </a:solidFill>
                <a:latin typeface="Arial"/>
                <a:cs typeface="Arial"/>
              </a:rPr>
              <a:t>Microsoft Intune Webinar</a:t>
            </a:r>
            <a:endParaRPr lang="en-US" dirty="0"/>
          </a:p>
          <a:p>
            <a:pPr defTabSz="914400">
              <a:defRPr/>
            </a:pPr>
            <a:r>
              <a:rPr kumimoji="0" lang="en-I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t>– Michael Coyle</a:t>
            </a:r>
            <a:r>
              <a:rPr lang="en-IE" dirty="0">
                <a:solidFill>
                  <a:prstClr val="black"/>
                </a:solidFill>
                <a:latin typeface="Arial"/>
                <a:cs typeface="Arial"/>
              </a:rPr>
              <a:t> April 8</a:t>
            </a:r>
            <a:r>
              <a:rPr lang="en-IE" baseline="30000" dirty="0">
                <a:solidFill>
                  <a:prstClr val="black"/>
                </a:solidFill>
                <a:latin typeface="Arial"/>
                <a:cs typeface="Arial"/>
              </a:rPr>
              <a:t>th</a:t>
            </a:r>
            <a:r>
              <a:rPr lang="en-IE" dirty="0">
                <a:solidFill>
                  <a:prstClr val="black"/>
                </a:solidFill>
                <a:latin typeface="Arial"/>
                <a:cs typeface="Arial"/>
              </a:rPr>
              <a:t> </a:t>
            </a:r>
            <a:endParaRPr lang="en-IE" dirty="0">
              <a:solidFill>
                <a:prstClr val="black"/>
              </a:solidFill>
              <a:latin typeface="Calibri" panose="020F0502020204030204"/>
              <a:cs typeface="Calibri" panose="020F0502020204030204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D54844F-3B04-4BE2-B63B-0F8DC94ECA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007" y="3104504"/>
            <a:ext cx="3265394" cy="3265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3512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Windows 10 Auto-enrolme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5" y="1560868"/>
            <a:ext cx="809071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ndows 10 devices can be auto-enrolled to Intun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 your users have Azure AD Premium P1 licens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.  By using Windows Autopilot to deploy via Azure A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. By Group Policy for domain joined devi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ey are on build version 1709 or higher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73CE9EB-158E-4E10-B06B-AD3420DF95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06485" y="1681269"/>
            <a:ext cx="4045334" cy="317551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23C2B7D-6D25-475A-B3D8-FD96C3D042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3904" y="5149912"/>
            <a:ext cx="8658225" cy="952500"/>
          </a:xfrm>
          <a:prstGeom prst="rect">
            <a:avLst/>
          </a:prstGeom>
        </p:spPr>
      </p:pic>
      <p:pic>
        <p:nvPicPr>
          <p:cNvPr id="10242" name="Picture 2" descr="Image result for windows">
            <a:extLst>
              <a:ext uri="{FF2B5EF4-FFF2-40B4-BE49-F238E27FC236}">
                <a16:creationId xmlns:a16="http://schemas.microsoft.com/office/drawing/2014/main" id="{D22C3D7B-F386-4752-9CE9-38CFA9C2ED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4414" y="100145"/>
            <a:ext cx="1197586" cy="1197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75213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iOS Enrolme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5" y="1560868"/>
            <a:ext cx="11057957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e MDM Push Certificate must be installed </a:t>
            </a:r>
            <a:r>
              <a:rPr kumimoji="0" lang="en-I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Intune 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al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quires Apple I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rolment Options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ual Enrolment (BYOD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e's Device Enrolment Program (DEP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e School Manage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e Configurato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st install Intune Company Portal App from Apple Store (if user affinity required)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quires an Apple ID</a:t>
            </a:r>
          </a:p>
        </p:txBody>
      </p:sp>
      <p:pic>
        <p:nvPicPr>
          <p:cNvPr id="7170" name="Picture 2" descr="Image result for ios">
            <a:extLst>
              <a:ext uri="{FF2B5EF4-FFF2-40B4-BE49-F238E27FC236}">
                <a16:creationId xmlns:a16="http://schemas.microsoft.com/office/drawing/2014/main" id="{C0468435-4D70-4173-9FA2-74BB8EB684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26405" y="63455"/>
            <a:ext cx="1264993" cy="126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58810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acOS Enrolme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5" y="1560868"/>
            <a:ext cx="11181246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e MDM Push Certificate must be installed </a:t>
            </a:r>
            <a:r>
              <a:rPr kumimoji="0" lang="en-I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Intune 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a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rolment Options: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e's Device Enrolment Program (DEP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e's Device Enrolment Manager (DEM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ual Enrolment (BYOD)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st install Intune Company Portal App from Apple Store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quires an Apple I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3E2ABB3-C8F6-4474-8FA8-84C51579D6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68352" y="231228"/>
            <a:ext cx="1181100" cy="1038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1434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Configuration Profi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5" y="1560868"/>
            <a:ext cx="10218097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figuration profiles are used to push settings to devic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s of some device configurations are: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ice Restrictions</a:t>
            </a:r>
          </a:p>
          <a:p>
            <a:pPr marL="12573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sword Policies</a:t>
            </a:r>
          </a:p>
          <a:p>
            <a:pPr marL="12573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cryption Settings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ail / </a:t>
            </a:r>
            <a:r>
              <a:rPr kumimoji="0" lang="en-IE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Fi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/ VPN Profiles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ministrative Templates (Preview) – </a:t>
            </a:r>
            <a:r>
              <a:rPr kumimoji="0" lang="en-I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milar to group policy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 (OMA-URI) – </a:t>
            </a:r>
            <a:r>
              <a:rPr kumimoji="0" lang="en-I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stom administrative templates</a:t>
            </a:r>
          </a:p>
          <a:p>
            <a:pPr marL="12573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al Security Policy Settings</a:t>
            </a:r>
          </a:p>
          <a:p>
            <a:pPr marL="12573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istry Setting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2979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Compliance Polici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5" y="1560868"/>
            <a:ext cx="961878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liance policies are a set of defined rules that the device must follo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s of some device compliance rules are: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the device OS version still supported in the organisation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s the device OS been jailbroken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the device encrypted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e the password / security settings compliant with company policy?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the device Antivirus and Firewall turned on?</a:t>
            </a:r>
          </a:p>
        </p:txBody>
      </p:sp>
    </p:spTree>
    <p:extLst>
      <p:ext uri="{BB962C8B-B14F-4D97-AF65-F5344CB8AC3E}">
        <p14:creationId xmlns:p14="http://schemas.microsoft.com/office/powerpoint/2010/main" val="15371198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onitoring Complianc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4" y="1560868"/>
            <a:ext cx="547898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ice compliance can be monitored through the monitoring dashboards of </a:t>
            </a:r>
            <a:r>
              <a:rPr kumimoji="0" lang="en-I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Intune 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a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can be exported to CSV fil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ification email alerts can be triggered if a device falls out of compliance</a:t>
            </a:r>
          </a:p>
        </p:txBody>
      </p:sp>
      <p:pic>
        <p:nvPicPr>
          <p:cNvPr id="3074" name="Picture 2" descr="Image result for intune device compliance monitor">
            <a:extLst>
              <a:ext uri="{FF2B5EF4-FFF2-40B4-BE49-F238E27FC236}">
                <a16:creationId xmlns:a16="http://schemas.microsoft.com/office/drawing/2014/main" id="{AD9DF144-54BB-4532-902F-14FE48150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0968" y="1652963"/>
            <a:ext cx="5505450" cy="3324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58565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une 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 Management Capabiliti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5" y="1560868"/>
            <a:ext cx="1107904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D6E3B2A-79CC-4C7E-AED6-9E4BA06DAA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77864" y="1291069"/>
            <a:ext cx="6955446" cy="5024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5812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Basic Overview of Mobile Application Manageme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5" y="1560868"/>
            <a:ext cx="11079040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bile Application Management Consists of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 Configuration Policies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d for more advanced setups to apply configuration settings within the app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: Disable email notifications in Outlook app</a:t>
            </a:r>
          </a:p>
          <a:p>
            <a:pPr marL="9144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 Protection Policies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d to apply restrictions within the app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ample: Prevent data from Outlook app being copied to other apps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ices </a:t>
            </a:r>
            <a:r>
              <a:rPr kumimoji="0" lang="en-IE" sz="24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 not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have to be enrolled/managed </a:t>
            </a:r>
            <a:r>
              <a:rPr kumimoji="0" lang="en-I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 Intune 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order to protect apps however they do need </a:t>
            </a:r>
            <a:r>
              <a:rPr kumimoji="0" lang="en-I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Intune 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 installed.  This is intended to facilitate BYOD devices that may not belong to the organisation</a:t>
            </a:r>
            <a:endParaRPr kumimoji="0" lang="en-IE" sz="2400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42417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Basic Overview of Mobile Application Manageme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5" y="1560868"/>
            <a:ext cx="110790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200150" marR="0" lvl="2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6" name="Picture 2" descr="Image result for intune mobile application management">
            <a:extLst>
              <a:ext uri="{FF2B5EF4-FFF2-40B4-BE49-F238E27FC236}">
                <a16:creationId xmlns:a16="http://schemas.microsoft.com/office/drawing/2014/main" id="{BBDAF0EC-0877-4234-B1B9-3B75C926EF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097" y="1500768"/>
            <a:ext cx="9856171" cy="4635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3742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Windows Autopilot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Windows 10 Deployment with Windows Autopilo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5" y="1560868"/>
            <a:ext cx="1105193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reate a Windows Autopilot deployment profile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essentially enables the device to join to your Azure AD tenant automatically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port for automated Hybrid Azure domain in preview now (needs build 1809)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A77883-E388-44EC-8CF7-C70FB2D93E3B}"/>
              </a:ext>
            </a:extLst>
          </p:cNvPr>
          <p:cNvSpPr txBox="1"/>
          <p:nvPr/>
        </p:nvSpPr>
        <p:spPr>
          <a:xfrm>
            <a:off x="931984" y="4759382"/>
            <a:ext cx="109228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sociate device with Windows Autopilot deployment profi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onally associate device with Azure AD User for more personalised experienc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8F34633-E84B-4E21-B300-98F9FC20D3C6}"/>
              </a:ext>
            </a:extLst>
          </p:cNvPr>
          <p:cNvSpPr txBox="1"/>
          <p:nvPr/>
        </p:nvSpPr>
        <p:spPr>
          <a:xfrm>
            <a:off x="949569" y="2964467"/>
            <a:ext cx="1042181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ort devices to Windows Autopilot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ails harvested from devices via PowerShell Script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 be compiled into a CSV file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step can be performed by some hardware vendors for new devices</a:t>
            </a:r>
          </a:p>
        </p:txBody>
      </p:sp>
      <p:pic>
        <p:nvPicPr>
          <p:cNvPr id="11" name="Picture 2" descr="Image result for windows">
            <a:extLst>
              <a:ext uri="{FF2B5EF4-FFF2-40B4-BE49-F238E27FC236}">
                <a16:creationId xmlns:a16="http://schemas.microsoft.com/office/drawing/2014/main" id="{1534A156-843A-49C9-A2AB-DB19A346CE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4414" y="100145"/>
            <a:ext cx="1197586" cy="1197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8946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History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2AB331A-08F2-4496-A92B-AC39FEEB2E91}"/>
              </a:ext>
            </a:extLst>
          </p:cNvPr>
          <p:cNvSpPr txBox="1"/>
          <p:nvPr/>
        </p:nvSpPr>
        <p:spPr>
          <a:xfrm>
            <a:off x="733097" y="1415622"/>
            <a:ext cx="10515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367"/>
            <a:r>
              <a:rPr lang="en-GB" sz="2400" dirty="0">
                <a:solidFill>
                  <a:prstClr val="black"/>
                </a:solidFill>
              </a:rPr>
              <a:t>Microsoft Intune is a cloud-based enterprise mobility management tool that aims to help organisations manage the mobile devices employees use to access corporate data and applications, such as email.</a:t>
            </a:r>
          </a:p>
          <a:p>
            <a:pPr lvl="0" defTabSz="914367"/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 defTabSz="914367"/>
            <a:r>
              <a:rPr lang="en-GB" sz="2400" dirty="0">
                <a:solidFill>
                  <a:prstClr val="black"/>
                </a:solidFill>
              </a:rPr>
              <a:t>Microsoft Intune launched in 2011 as Windows Intune. The name change to Microsoft Intune was announced in 2014.</a:t>
            </a: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62083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Windows Autopilot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Windows 10 Deployment with Windows Autopilo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2" descr="Image result for windows">
            <a:extLst>
              <a:ext uri="{FF2B5EF4-FFF2-40B4-BE49-F238E27FC236}">
                <a16:creationId xmlns:a16="http://schemas.microsoft.com/office/drawing/2014/main" id="{2908412B-B794-4EDF-8328-860F51949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4414" y="100145"/>
            <a:ext cx="1197586" cy="1197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4246C290-2F3E-4D32-8B55-D6D884B1DADA}"/>
              </a:ext>
            </a:extLst>
          </p:cNvPr>
          <p:cNvSpPr/>
          <p:nvPr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I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9D68357-1E0F-40E9-BEED-69C1738F7583}"/>
              </a:ext>
            </a:extLst>
          </p:cNvPr>
          <p:cNvGrpSpPr/>
          <p:nvPr/>
        </p:nvGrpSpPr>
        <p:grpSpPr>
          <a:xfrm>
            <a:off x="9175583" y="2947624"/>
            <a:ext cx="1067652" cy="751441"/>
            <a:chOff x="7735662" y="2980931"/>
            <a:chExt cx="1089061" cy="766508"/>
          </a:xfrm>
        </p:grpSpPr>
        <p:cxnSp>
          <p:nvCxnSpPr>
            <p:cNvPr id="64" name="Straight Arrow Connector 63">
              <a:extLst>
                <a:ext uri="{FF2B5EF4-FFF2-40B4-BE49-F238E27FC236}">
                  <a16:creationId xmlns:a16="http://schemas.microsoft.com/office/drawing/2014/main" id="{A7F69A95-2EA9-4070-8379-03E4B662680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824723" y="2980931"/>
              <a:ext cx="0" cy="766508"/>
            </a:xfrm>
            <a:prstGeom prst="straightConnector1">
              <a:avLst/>
            </a:prstGeom>
            <a:ln w="38100" cap="rnd">
              <a:solidFill>
                <a:schemeClr val="accent1"/>
              </a:solidFill>
              <a:headEnd type="none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428825D3-2E27-41B5-802F-DCD73C559A7D}"/>
                </a:ext>
              </a:extLst>
            </p:cNvPr>
            <p:cNvSpPr txBox="1"/>
            <p:nvPr/>
          </p:nvSpPr>
          <p:spPr>
            <a:xfrm>
              <a:off x="7735662" y="3194364"/>
              <a:ext cx="1009467" cy="461504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36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/>
                  <a:ea typeface="+mn-ea"/>
                  <a:cs typeface="Segoe UI Semilight" panose="020B0402040204020203" pitchFamily="34" charset="0"/>
                </a:rPr>
                <a:t>Configure Windows Autopilot profile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77628A93-9FC7-4D5C-88C7-D9ED1E557D71}"/>
              </a:ext>
            </a:extLst>
          </p:cNvPr>
          <p:cNvGrpSpPr/>
          <p:nvPr/>
        </p:nvGrpSpPr>
        <p:grpSpPr>
          <a:xfrm>
            <a:off x="5803966" y="2947622"/>
            <a:ext cx="237409" cy="2209801"/>
            <a:chOff x="10178452" y="2488984"/>
            <a:chExt cx="242170" cy="2254112"/>
          </a:xfrm>
        </p:grpSpPr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id="{A5F52037-DD53-4F37-AF99-37821247621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0178452" y="2488984"/>
              <a:ext cx="17286" cy="2254112"/>
            </a:xfrm>
            <a:prstGeom prst="straightConnector1">
              <a:avLst/>
            </a:prstGeom>
            <a:ln w="38100" cap="rnd">
              <a:solidFill>
                <a:schemeClr val="accent1"/>
              </a:solidFill>
              <a:headEnd type="triangle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B376B7C6-3D89-4DEC-8D11-7689D26E8BE8}"/>
                </a:ext>
              </a:extLst>
            </p:cNvPr>
            <p:cNvSpPr txBox="1"/>
            <p:nvPr/>
          </p:nvSpPr>
          <p:spPr>
            <a:xfrm rot="5400000">
              <a:off x="9798994" y="3568845"/>
              <a:ext cx="1089421" cy="153835"/>
            </a:xfrm>
            <a:prstGeom prst="rect">
              <a:avLst/>
            </a:prstGeom>
            <a:noFill/>
            <a:ln w="38100" cap="rnd">
              <a:noFill/>
            </a:ln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ctr" defTabSz="9136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/>
                  <a:ea typeface="+mn-ea"/>
                  <a:cs typeface="Segoe UI Semilight" panose="020B0402040204020203" pitchFamily="34" charset="0"/>
                </a:rPr>
                <a:t>Self-service deploy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399E20D6-C78C-4A92-85A9-E11407DADCDC}"/>
              </a:ext>
            </a:extLst>
          </p:cNvPr>
          <p:cNvGrpSpPr/>
          <p:nvPr/>
        </p:nvGrpSpPr>
        <p:grpSpPr>
          <a:xfrm>
            <a:off x="581783" y="2095945"/>
            <a:ext cx="2877684" cy="3013747"/>
            <a:chOff x="874042" y="2027411"/>
            <a:chExt cx="2935389" cy="3074177"/>
          </a:xfrm>
        </p:grpSpPr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00D47FC-0EEB-408B-BF2A-5D95B7459F9D}"/>
                </a:ext>
              </a:extLst>
            </p:cNvPr>
            <p:cNvGrpSpPr/>
            <p:nvPr/>
          </p:nvGrpSpPr>
          <p:grpSpPr>
            <a:xfrm>
              <a:off x="1679290" y="2027411"/>
              <a:ext cx="2130141" cy="1350668"/>
              <a:chOff x="1198266" y="1595834"/>
              <a:chExt cx="2188524" cy="1298640"/>
            </a:xfrm>
          </p:grpSpPr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D5175E8B-35A3-4D50-9234-1664BC66D587}"/>
                  </a:ext>
                </a:extLst>
              </p:cNvPr>
              <p:cNvSpPr txBox="1"/>
              <p:nvPr/>
            </p:nvSpPr>
            <p:spPr>
              <a:xfrm>
                <a:off x="1881143" y="1595834"/>
                <a:ext cx="878446" cy="147909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>
                <a:spAutoFit/>
              </a:bodyPr>
              <a:lstStyle/>
              <a:p>
                <a:pPr marL="0" marR="0" lvl="0" indent="0" algn="ctr" defTabSz="9136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80" b="0" i="0" u="none" strike="noStrike" kern="0" cap="none" spc="-49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light" panose="020B0402040204020203" pitchFamily="34" charset="0"/>
                  </a:rPr>
                  <a:t>Device IDs</a:t>
                </a:r>
              </a:p>
            </p:txBody>
          </p:sp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F643E55A-28DB-46C3-8A37-D43B3113BE8F}"/>
                  </a:ext>
                </a:extLst>
              </p:cNvPr>
              <p:cNvGrpSpPr/>
              <p:nvPr/>
            </p:nvGrpSpPr>
            <p:grpSpPr>
              <a:xfrm flipV="1">
                <a:off x="1198266" y="1790318"/>
                <a:ext cx="2188524" cy="1104156"/>
                <a:chOff x="1435749" y="4835105"/>
                <a:chExt cx="1750000" cy="1607556"/>
              </a:xfrm>
            </p:grpSpPr>
            <p:cxnSp>
              <p:nvCxnSpPr>
                <p:cNvPr id="81" name="Straight Arrow Connector 80">
                  <a:extLst>
                    <a:ext uri="{FF2B5EF4-FFF2-40B4-BE49-F238E27FC236}">
                      <a16:creationId xmlns:a16="http://schemas.microsoft.com/office/drawing/2014/main" id="{D8159833-C7E6-4A40-98ED-663DE09FDD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35749" y="4835105"/>
                  <a:ext cx="0" cy="1607556"/>
                </a:xfrm>
                <a:prstGeom prst="straightConnector1">
                  <a:avLst/>
                </a:prstGeom>
                <a:ln w="38100" cap="rnd">
                  <a:solidFill>
                    <a:schemeClr val="accent1"/>
                  </a:solidFill>
                  <a:headEnd type="none"/>
                  <a:tailEnd type="none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2" name="Straight Arrow Connector 81">
                  <a:extLst>
                    <a:ext uri="{FF2B5EF4-FFF2-40B4-BE49-F238E27FC236}">
                      <a16:creationId xmlns:a16="http://schemas.microsoft.com/office/drawing/2014/main" id="{5971BFB1-FA55-4735-ACAD-5464A358AA0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40628" y="6442661"/>
                  <a:ext cx="1745121" cy="0"/>
                </a:xfrm>
                <a:prstGeom prst="straightConnector1">
                  <a:avLst/>
                </a:prstGeom>
                <a:ln w="38100" cap="rnd">
                  <a:solidFill>
                    <a:schemeClr val="accent1"/>
                  </a:solidFill>
                  <a:headEnd type="none" w="lg" len="med"/>
                  <a:tailEnd type="triangle" w="med" len="me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4447E357-D48D-4DE3-B577-F1FEA2C03D29}"/>
                </a:ext>
              </a:extLst>
            </p:cNvPr>
            <p:cNvGrpSpPr/>
            <p:nvPr/>
          </p:nvGrpSpPr>
          <p:grpSpPr>
            <a:xfrm>
              <a:off x="874042" y="3398674"/>
              <a:ext cx="1610497" cy="1702914"/>
              <a:chOff x="393018" y="2951072"/>
              <a:chExt cx="1610497" cy="1702914"/>
            </a:xfrm>
          </p:grpSpPr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F98E8154-83E4-4106-8E0B-91B40F7F8BDE}"/>
                  </a:ext>
                </a:extLst>
              </p:cNvPr>
              <p:cNvGrpSpPr/>
              <p:nvPr/>
            </p:nvGrpSpPr>
            <p:grpSpPr>
              <a:xfrm>
                <a:off x="393018" y="3739405"/>
                <a:ext cx="1610497" cy="914581"/>
                <a:chOff x="374068" y="2185420"/>
                <a:chExt cx="1610497" cy="914581"/>
              </a:xfrm>
            </p:grpSpPr>
            <p:sp>
              <p:nvSpPr>
                <p:cNvPr id="77" name="building_4" title="Icon of a tall rectangular building in front of two shorter buildings">
                  <a:extLst>
                    <a:ext uri="{FF2B5EF4-FFF2-40B4-BE49-F238E27FC236}">
                      <a16:creationId xmlns:a16="http://schemas.microsoft.com/office/drawing/2014/main" id="{2FC7341D-D783-49B6-BC08-E5B82EE02572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898525" y="2185420"/>
                  <a:ext cx="561583" cy="570429"/>
                </a:xfrm>
                <a:custGeom>
                  <a:avLst/>
                  <a:gdLst>
                    <a:gd name="T0" fmla="*/ 200 w 254"/>
                    <a:gd name="T1" fmla="*/ 258 h 258"/>
                    <a:gd name="T2" fmla="*/ 55 w 254"/>
                    <a:gd name="T3" fmla="*/ 44 h 258"/>
                    <a:gd name="T4" fmla="*/ 200 w 254"/>
                    <a:gd name="T5" fmla="*/ 44 h 258"/>
                    <a:gd name="T6" fmla="*/ 55 w 254"/>
                    <a:gd name="T7" fmla="*/ 72 h 258"/>
                    <a:gd name="T8" fmla="*/ 0 w 254"/>
                    <a:gd name="T9" fmla="*/ 258 h 258"/>
                    <a:gd name="T10" fmla="*/ 21 w 254"/>
                    <a:gd name="T11" fmla="*/ 102 h 258"/>
                    <a:gd name="T12" fmla="*/ 21 w 254"/>
                    <a:gd name="T13" fmla="*/ 128 h 258"/>
                    <a:gd name="T14" fmla="*/ 21 w 254"/>
                    <a:gd name="T15" fmla="*/ 155 h 258"/>
                    <a:gd name="T16" fmla="*/ 21 w 254"/>
                    <a:gd name="T17" fmla="*/ 182 h 258"/>
                    <a:gd name="T18" fmla="*/ 21 w 254"/>
                    <a:gd name="T19" fmla="*/ 209 h 258"/>
                    <a:gd name="T20" fmla="*/ 200 w 254"/>
                    <a:gd name="T21" fmla="*/ 258 h 258"/>
                    <a:gd name="T22" fmla="*/ 254 w 254"/>
                    <a:gd name="T23" fmla="*/ 72 h 258"/>
                    <a:gd name="T24" fmla="*/ 234 w 254"/>
                    <a:gd name="T25" fmla="*/ 102 h 258"/>
                    <a:gd name="T26" fmla="*/ 234 w 254"/>
                    <a:gd name="T27" fmla="*/ 128 h 258"/>
                    <a:gd name="T28" fmla="*/ 234 w 254"/>
                    <a:gd name="T29" fmla="*/ 155 h 258"/>
                    <a:gd name="T30" fmla="*/ 234 w 254"/>
                    <a:gd name="T31" fmla="*/ 182 h 258"/>
                    <a:gd name="T32" fmla="*/ 234 w 254"/>
                    <a:gd name="T33" fmla="*/ 209 h 258"/>
                    <a:gd name="T34" fmla="*/ 96 w 254"/>
                    <a:gd name="T35" fmla="*/ 71 h 258"/>
                    <a:gd name="T36" fmla="*/ 87 w 254"/>
                    <a:gd name="T37" fmla="*/ 66 h 258"/>
                    <a:gd name="T38" fmla="*/ 96 w 254"/>
                    <a:gd name="T39" fmla="*/ 76 h 258"/>
                    <a:gd name="T40" fmla="*/ 132 w 254"/>
                    <a:gd name="T41" fmla="*/ 71 h 258"/>
                    <a:gd name="T42" fmla="*/ 122 w 254"/>
                    <a:gd name="T43" fmla="*/ 66 h 258"/>
                    <a:gd name="T44" fmla="*/ 132 w 254"/>
                    <a:gd name="T45" fmla="*/ 76 h 258"/>
                    <a:gd name="T46" fmla="*/ 168 w 254"/>
                    <a:gd name="T47" fmla="*/ 71 h 258"/>
                    <a:gd name="T48" fmla="*/ 158 w 254"/>
                    <a:gd name="T49" fmla="*/ 66 h 258"/>
                    <a:gd name="T50" fmla="*/ 168 w 254"/>
                    <a:gd name="T51" fmla="*/ 76 h 258"/>
                    <a:gd name="T52" fmla="*/ 96 w 254"/>
                    <a:gd name="T53" fmla="*/ 109 h 258"/>
                    <a:gd name="T54" fmla="*/ 87 w 254"/>
                    <a:gd name="T55" fmla="*/ 104 h 258"/>
                    <a:gd name="T56" fmla="*/ 96 w 254"/>
                    <a:gd name="T57" fmla="*/ 114 h 258"/>
                    <a:gd name="T58" fmla="*/ 132 w 254"/>
                    <a:gd name="T59" fmla="*/ 109 h 258"/>
                    <a:gd name="T60" fmla="*/ 122 w 254"/>
                    <a:gd name="T61" fmla="*/ 104 h 258"/>
                    <a:gd name="T62" fmla="*/ 132 w 254"/>
                    <a:gd name="T63" fmla="*/ 114 h 258"/>
                    <a:gd name="T64" fmla="*/ 168 w 254"/>
                    <a:gd name="T65" fmla="*/ 109 h 258"/>
                    <a:gd name="T66" fmla="*/ 158 w 254"/>
                    <a:gd name="T67" fmla="*/ 104 h 258"/>
                    <a:gd name="T68" fmla="*/ 168 w 254"/>
                    <a:gd name="T69" fmla="*/ 114 h 258"/>
                    <a:gd name="T70" fmla="*/ 96 w 254"/>
                    <a:gd name="T71" fmla="*/ 147 h 258"/>
                    <a:gd name="T72" fmla="*/ 87 w 254"/>
                    <a:gd name="T73" fmla="*/ 142 h 258"/>
                    <a:gd name="T74" fmla="*/ 96 w 254"/>
                    <a:gd name="T75" fmla="*/ 152 h 258"/>
                    <a:gd name="T76" fmla="*/ 132 w 254"/>
                    <a:gd name="T77" fmla="*/ 147 h 258"/>
                    <a:gd name="T78" fmla="*/ 122 w 254"/>
                    <a:gd name="T79" fmla="*/ 142 h 258"/>
                    <a:gd name="T80" fmla="*/ 132 w 254"/>
                    <a:gd name="T81" fmla="*/ 152 h 258"/>
                    <a:gd name="T82" fmla="*/ 168 w 254"/>
                    <a:gd name="T83" fmla="*/ 147 h 258"/>
                    <a:gd name="T84" fmla="*/ 158 w 254"/>
                    <a:gd name="T85" fmla="*/ 142 h 258"/>
                    <a:gd name="T86" fmla="*/ 168 w 254"/>
                    <a:gd name="T87" fmla="*/ 152 h 258"/>
                    <a:gd name="T88" fmla="*/ 96 w 254"/>
                    <a:gd name="T89" fmla="*/ 185 h 258"/>
                    <a:gd name="T90" fmla="*/ 87 w 254"/>
                    <a:gd name="T91" fmla="*/ 180 h 258"/>
                    <a:gd name="T92" fmla="*/ 96 w 254"/>
                    <a:gd name="T93" fmla="*/ 190 h 258"/>
                    <a:gd name="T94" fmla="*/ 132 w 254"/>
                    <a:gd name="T95" fmla="*/ 186 h 258"/>
                    <a:gd name="T96" fmla="*/ 122 w 254"/>
                    <a:gd name="T97" fmla="*/ 180 h 258"/>
                    <a:gd name="T98" fmla="*/ 132 w 254"/>
                    <a:gd name="T99" fmla="*/ 190 h 258"/>
                    <a:gd name="T100" fmla="*/ 168 w 254"/>
                    <a:gd name="T101" fmla="*/ 184 h 258"/>
                    <a:gd name="T102" fmla="*/ 158 w 254"/>
                    <a:gd name="T103" fmla="*/ 180 h 258"/>
                    <a:gd name="T104" fmla="*/ 168 w 254"/>
                    <a:gd name="T105" fmla="*/ 190 h 258"/>
                    <a:gd name="T106" fmla="*/ 163 w 254"/>
                    <a:gd name="T107" fmla="*/ 258 h 258"/>
                    <a:gd name="T108" fmla="*/ 92 w 254"/>
                    <a:gd name="T109" fmla="*/ 217 h 2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54" h="258">
                      <a:moveTo>
                        <a:pt x="200" y="146"/>
                      </a:moveTo>
                      <a:lnTo>
                        <a:pt x="200" y="258"/>
                      </a:lnTo>
                      <a:lnTo>
                        <a:pt x="55" y="258"/>
                      </a:lnTo>
                      <a:lnTo>
                        <a:pt x="55" y="44"/>
                      </a:lnTo>
                      <a:lnTo>
                        <a:pt x="127" y="0"/>
                      </a:lnTo>
                      <a:lnTo>
                        <a:pt x="200" y="44"/>
                      </a:lnTo>
                      <a:lnTo>
                        <a:pt x="200" y="146"/>
                      </a:lnTo>
                      <a:moveTo>
                        <a:pt x="55" y="72"/>
                      </a:moveTo>
                      <a:lnTo>
                        <a:pt x="0" y="72"/>
                      </a:lnTo>
                      <a:lnTo>
                        <a:pt x="0" y="258"/>
                      </a:lnTo>
                      <a:lnTo>
                        <a:pt x="55" y="258"/>
                      </a:lnTo>
                      <a:moveTo>
                        <a:pt x="21" y="102"/>
                      </a:moveTo>
                      <a:lnTo>
                        <a:pt x="55" y="102"/>
                      </a:lnTo>
                      <a:moveTo>
                        <a:pt x="21" y="128"/>
                      </a:moveTo>
                      <a:lnTo>
                        <a:pt x="55" y="128"/>
                      </a:lnTo>
                      <a:moveTo>
                        <a:pt x="21" y="155"/>
                      </a:moveTo>
                      <a:lnTo>
                        <a:pt x="55" y="155"/>
                      </a:lnTo>
                      <a:moveTo>
                        <a:pt x="21" y="182"/>
                      </a:moveTo>
                      <a:lnTo>
                        <a:pt x="55" y="182"/>
                      </a:lnTo>
                      <a:moveTo>
                        <a:pt x="21" y="209"/>
                      </a:moveTo>
                      <a:lnTo>
                        <a:pt x="55" y="209"/>
                      </a:lnTo>
                      <a:moveTo>
                        <a:pt x="200" y="258"/>
                      </a:moveTo>
                      <a:lnTo>
                        <a:pt x="254" y="258"/>
                      </a:lnTo>
                      <a:lnTo>
                        <a:pt x="254" y="72"/>
                      </a:lnTo>
                      <a:lnTo>
                        <a:pt x="200" y="72"/>
                      </a:lnTo>
                      <a:moveTo>
                        <a:pt x="234" y="102"/>
                      </a:moveTo>
                      <a:lnTo>
                        <a:pt x="200" y="102"/>
                      </a:lnTo>
                      <a:moveTo>
                        <a:pt x="234" y="128"/>
                      </a:moveTo>
                      <a:lnTo>
                        <a:pt x="200" y="128"/>
                      </a:lnTo>
                      <a:moveTo>
                        <a:pt x="234" y="155"/>
                      </a:moveTo>
                      <a:lnTo>
                        <a:pt x="200" y="155"/>
                      </a:lnTo>
                      <a:moveTo>
                        <a:pt x="234" y="182"/>
                      </a:moveTo>
                      <a:lnTo>
                        <a:pt x="200" y="182"/>
                      </a:lnTo>
                      <a:moveTo>
                        <a:pt x="234" y="209"/>
                      </a:moveTo>
                      <a:lnTo>
                        <a:pt x="200" y="209"/>
                      </a:lnTo>
                      <a:moveTo>
                        <a:pt x="96" y="71"/>
                      </a:moveTo>
                      <a:lnTo>
                        <a:pt x="96" y="66"/>
                      </a:lnTo>
                      <a:lnTo>
                        <a:pt x="87" y="66"/>
                      </a:lnTo>
                      <a:lnTo>
                        <a:pt x="87" y="76"/>
                      </a:lnTo>
                      <a:lnTo>
                        <a:pt x="96" y="76"/>
                      </a:lnTo>
                      <a:lnTo>
                        <a:pt x="96" y="71"/>
                      </a:lnTo>
                      <a:moveTo>
                        <a:pt x="132" y="71"/>
                      </a:moveTo>
                      <a:lnTo>
                        <a:pt x="132" y="66"/>
                      </a:lnTo>
                      <a:lnTo>
                        <a:pt x="122" y="66"/>
                      </a:lnTo>
                      <a:lnTo>
                        <a:pt x="122" y="76"/>
                      </a:lnTo>
                      <a:lnTo>
                        <a:pt x="132" y="76"/>
                      </a:lnTo>
                      <a:lnTo>
                        <a:pt x="132" y="71"/>
                      </a:lnTo>
                      <a:moveTo>
                        <a:pt x="168" y="71"/>
                      </a:moveTo>
                      <a:lnTo>
                        <a:pt x="168" y="66"/>
                      </a:lnTo>
                      <a:lnTo>
                        <a:pt x="158" y="66"/>
                      </a:lnTo>
                      <a:lnTo>
                        <a:pt x="158" y="76"/>
                      </a:lnTo>
                      <a:lnTo>
                        <a:pt x="168" y="76"/>
                      </a:lnTo>
                      <a:lnTo>
                        <a:pt x="168" y="71"/>
                      </a:lnTo>
                      <a:moveTo>
                        <a:pt x="96" y="109"/>
                      </a:moveTo>
                      <a:lnTo>
                        <a:pt x="96" y="104"/>
                      </a:lnTo>
                      <a:lnTo>
                        <a:pt x="87" y="104"/>
                      </a:lnTo>
                      <a:lnTo>
                        <a:pt x="87" y="114"/>
                      </a:lnTo>
                      <a:lnTo>
                        <a:pt x="96" y="114"/>
                      </a:lnTo>
                      <a:lnTo>
                        <a:pt x="96" y="109"/>
                      </a:lnTo>
                      <a:moveTo>
                        <a:pt x="132" y="109"/>
                      </a:moveTo>
                      <a:lnTo>
                        <a:pt x="132" y="104"/>
                      </a:lnTo>
                      <a:lnTo>
                        <a:pt x="122" y="104"/>
                      </a:lnTo>
                      <a:lnTo>
                        <a:pt x="122" y="114"/>
                      </a:lnTo>
                      <a:lnTo>
                        <a:pt x="132" y="114"/>
                      </a:lnTo>
                      <a:lnTo>
                        <a:pt x="132" y="109"/>
                      </a:lnTo>
                      <a:moveTo>
                        <a:pt x="168" y="109"/>
                      </a:moveTo>
                      <a:lnTo>
                        <a:pt x="168" y="104"/>
                      </a:lnTo>
                      <a:lnTo>
                        <a:pt x="158" y="104"/>
                      </a:lnTo>
                      <a:lnTo>
                        <a:pt x="158" y="114"/>
                      </a:lnTo>
                      <a:lnTo>
                        <a:pt x="168" y="114"/>
                      </a:lnTo>
                      <a:lnTo>
                        <a:pt x="168" y="109"/>
                      </a:lnTo>
                      <a:moveTo>
                        <a:pt x="96" y="147"/>
                      </a:moveTo>
                      <a:lnTo>
                        <a:pt x="96" y="142"/>
                      </a:lnTo>
                      <a:lnTo>
                        <a:pt x="87" y="142"/>
                      </a:lnTo>
                      <a:lnTo>
                        <a:pt x="87" y="152"/>
                      </a:lnTo>
                      <a:lnTo>
                        <a:pt x="96" y="152"/>
                      </a:lnTo>
                      <a:lnTo>
                        <a:pt x="96" y="147"/>
                      </a:lnTo>
                      <a:moveTo>
                        <a:pt x="132" y="147"/>
                      </a:moveTo>
                      <a:lnTo>
                        <a:pt x="132" y="142"/>
                      </a:lnTo>
                      <a:lnTo>
                        <a:pt x="122" y="142"/>
                      </a:lnTo>
                      <a:lnTo>
                        <a:pt x="122" y="152"/>
                      </a:lnTo>
                      <a:lnTo>
                        <a:pt x="132" y="152"/>
                      </a:lnTo>
                      <a:lnTo>
                        <a:pt x="132" y="147"/>
                      </a:lnTo>
                      <a:moveTo>
                        <a:pt x="168" y="147"/>
                      </a:moveTo>
                      <a:lnTo>
                        <a:pt x="168" y="142"/>
                      </a:lnTo>
                      <a:lnTo>
                        <a:pt x="158" y="142"/>
                      </a:lnTo>
                      <a:lnTo>
                        <a:pt x="158" y="152"/>
                      </a:lnTo>
                      <a:lnTo>
                        <a:pt x="168" y="152"/>
                      </a:lnTo>
                      <a:lnTo>
                        <a:pt x="168" y="147"/>
                      </a:lnTo>
                      <a:moveTo>
                        <a:pt x="96" y="185"/>
                      </a:moveTo>
                      <a:lnTo>
                        <a:pt x="96" y="180"/>
                      </a:lnTo>
                      <a:lnTo>
                        <a:pt x="87" y="180"/>
                      </a:lnTo>
                      <a:lnTo>
                        <a:pt x="87" y="190"/>
                      </a:lnTo>
                      <a:lnTo>
                        <a:pt x="96" y="190"/>
                      </a:lnTo>
                      <a:lnTo>
                        <a:pt x="96" y="185"/>
                      </a:lnTo>
                      <a:moveTo>
                        <a:pt x="132" y="186"/>
                      </a:moveTo>
                      <a:lnTo>
                        <a:pt x="132" y="180"/>
                      </a:lnTo>
                      <a:lnTo>
                        <a:pt x="122" y="180"/>
                      </a:lnTo>
                      <a:lnTo>
                        <a:pt x="122" y="190"/>
                      </a:lnTo>
                      <a:lnTo>
                        <a:pt x="132" y="190"/>
                      </a:lnTo>
                      <a:lnTo>
                        <a:pt x="132" y="186"/>
                      </a:lnTo>
                      <a:moveTo>
                        <a:pt x="168" y="184"/>
                      </a:moveTo>
                      <a:lnTo>
                        <a:pt x="168" y="180"/>
                      </a:lnTo>
                      <a:lnTo>
                        <a:pt x="158" y="180"/>
                      </a:lnTo>
                      <a:lnTo>
                        <a:pt x="158" y="190"/>
                      </a:lnTo>
                      <a:lnTo>
                        <a:pt x="168" y="190"/>
                      </a:lnTo>
                      <a:lnTo>
                        <a:pt x="168" y="184"/>
                      </a:lnTo>
                      <a:moveTo>
                        <a:pt x="163" y="258"/>
                      </a:moveTo>
                      <a:lnTo>
                        <a:pt x="163" y="217"/>
                      </a:lnTo>
                      <a:lnTo>
                        <a:pt x="92" y="217"/>
                      </a:lnTo>
                      <a:lnTo>
                        <a:pt x="92" y="258"/>
                      </a:lnTo>
                    </a:path>
                  </a:pathLst>
                </a:custGeom>
                <a:noFill/>
                <a:ln w="25400" cap="flat">
                  <a:solidFill>
                    <a:srgbClr val="000000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87857" tIns="43929" rIns="87857" bIns="4392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78548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33" b="0" i="0" u="none" strike="noStrike" kern="1200" cap="none" spc="0" normalizeH="0" baseline="0" noProof="0">
                    <a:ln>
                      <a:noFill/>
                    </a:ln>
                    <a:gradFill>
                      <a:gsLst>
                        <a:gs pos="0">
                          <a:srgbClr val="505050"/>
                        </a:gs>
                        <a:gs pos="100000">
                          <a:srgbClr val="505050"/>
                        </a:gs>
                      </a:gsLst>
                    </a:gra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Rectangle 77">
                  <a:extLst>
                    <a:ext uri="{FF2B5EF4-FFF2-40B4-BE49-F238E27FC236}">
                      <a16:creationId xmlns:a16="http://schemas.microsoft.com/office/drawing/2014/main" id="{E61AAD0C-FC92-4A74-838E-178E381BA84A}"/>
                    </a:ext>
                  </a:extLst>
                </p:cNvPr>
                <p:cNvSpPr/>
                <p:nvPr/>
              </p:nvSpPr>
              <p:spPr>
                <a:xfrm>
                  <a:off x="374068" y="2853780"/>
                  <a:ext cx="1610497" cy="246221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marL="0" marR="0" lvl="0" indent="0" algn="ctr" defTabSz="91431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568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rPr>
                    <a:t>Hardware Vendor</a:t>
                  </a:r>
                </a:p>
              </p:txBody>
            </p:sp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162EC357-F81B-41BF-82BC-7CFD5CC8D368}"/>
                  </a:ext>
                </a:extLst>
              </p:cNvPr>
              <p:cNvGrpSpPr/>
              <p:nvPr/>
            </p:nvGrpSpPr>
            <p:grpSpPr>
              <a:xfrm>
                <a:off x="962711" y="2951072"/>
                <a:ext cx="471110" cy="471110"/>
                <a:chOff x="962711" y="2951072"/>
                <a:chExt cx="471110" cy="471110"/>
              </a:xfrm>
            </p:grpSpPr>
            <p:sp>
              <p:nvSpPr>
                <p:cNvPr id="75" name="people_4" title="Icon of a person">
                  <a:extLst>
                    <a:ext uri="{FF2B5EF4-FFF2-40B4-BE49-F238E27FC236}">
                      <a16:creationId xmlns:a16="http://schemas.microsoft.com/office/drawing/2014/main" id="{751D4EF9-9D39-457C-BA2A-96D3D2F26697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auto">
                <a:xfrm>
                  <a:off x="1114384" y="3113576"/>
                  <a:ext cx="167764" cy="187558"/>
                </a:xfrm>
                <a:custGeom>
                  <a:avLst/>
                  <a:gdLst>
                    <a:gd name="T0" fmla="*/ 48 w 246"/>
                    <a:gd name="T1" fmla="*/ 76 h 275"/>
                    <a:gd name="T2" fmla="*/ 124 w 246"/>
                    <a:gd name="T3" fmla="*/ 0 h 275"/>
                    <a:gd name="T4" fmla="*/ 201 w 246"/>
                    <a:gd name="T5" fmla="*/ 76 h 275"/>
                    <a:gd name="T6" fmla="*/ 124 w 246"/>
                    <a:gd name="T7" fmla="*/ 152 h 275"/>
                    <a:gd name="T8" fmla="*/ 48 w 246"/>
                    <a:gd name="T9" fmla="*/ 76 h 275"/>
                    <a:gd name="T10" fmla="*/ 246 w 246"/>
                    <a:gd name="T11" fmla="*/ 275 h 275"/>
                    <a:gd name="T12" fmla="*/ 123 w 246"/>
                    <a:gd name="T13" fmla="*/ 152 h 275"/>
                    <a:gd name="T14" fmla="*/ 0 w 246"/>
                    <a:gd name="T15" fmla="*/ 275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46" h="275">
                      <a:moveTo>
                        <a:pt x="48" y="76"/>
                      </a:moveTo>
                      <a:cubicBezTo>
                        <a:pt x="48" y="34"/>
                        <a:pt x="82" y="0"/>
                        <a:pt x="124" y="0"/>
                      </a:cubicBezTo>
                      <a:cubicBezTo>
                        <a:pt x="166" y="0"/>
                        <a:pt x="201" y="34"/>
                        <a:pt x="201" y="76"/>
                      </a:cubicBezTo>
                      <a:cubicBezTo>
                        <a:pt x="201" y="118"/>
                        <a:pt x="166" y="152"/>
                        <a:pt x="124" y="152"/>
                      </a:cubicBezTo>
                      <a:cubicBezTo>
                        <a:pt x="82" y="152"/>
                        <a:pt x="48" y="118"/>
                        <a:pt x="48" y="76"/>
                      </a:cubicBezTo>
                      <a:close/>
                      <a:moveTo>
                        <a:pt x="246" y="275"/>
                      </a:moveTo>
                      <a:cubicBezTo>
                        <a:pt x="246" y="207"/>
                        <a:pt x="191" y="152"/>
                        <a:pt x="123" y="152"/>
                      </a:cubicBezTo>
                      <a:cubicBezTo>
                        <a:pt x="55" y="152"/>
                        <a:pt x="0" y="207"/>
                        <a:pt x="0" y="275"/>
                      </a:cubicBezTo>
                    </a:path>
                  </a:pathLst>
                </a:custGeom>
                <a:noFill/>
                <a:ln w="25400" cap="rnd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87857" tIns="43929" rIns="87857" bIns="4392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878548" rtl="0" eaLnBrk="1" fontAlgn="base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33" b="0" i="0" u="none" strike="noStrike" kern="1200" cap="none" spc="0" normalizeH="0" baseline="0" noProof="0">
                    <a:ln>
                      <a:noFill/>
                    </a:ln>
                    <a:solidFill>
                      <a:srgbClr val="50505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Oval 75">
                  <a:extLst>
                    <a:ext uri="{FF2B5EF4-FFF2-40B4-BE49-F238E27FC236}">
                      <a16:creationId xmlns:a16="http://schemas.microsoft.com/office/drawing/2014/main" id="{DFAEE1BA-1F3B-4628-9E18-B23A6DED0535}"/>
                    </a:ext>
                  </a:extLst>
                </p:cNvPr>
                <p:cNvSpPr/>
                <p:nvPr/>
              </p:nvSpPr>
              <p:spPr bwMode="auto">
                <a:xfrm>
                  <a:off x="962711" y="2951072"/>
                  <a:ext cx="471110" cy="471110"/>
                </a:xfrm>
                <a:prstGeom prst="ellipse">
                  <a:avLst/>
                </a:prstGeom>
                <a:noFill/>
                <a:ln w="25400">
                  <a:solidFill>
                    <a:srgbClr val="000000"/>
                  </a:solidFill>
                  <a:headEnd type="none" w="med" len="med"/>
                  <a:tailEnd type="none" w="med" len="med"/>
                </a:ln>
                <a:effectLst/>
              </p:spPr>
              <p:style>
                <a:lnRef idx="1">
                  <a:schemeClr val="accent2"/>
                </a:lnRef>
                <a:fillRef idx="3">
                  <a:schemeClr val="accent2"/>
                </a:fillRef>
                <a:effectRef idx="2">
                  <a:schemeClr val="accent2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102" rtl="0" eaLnBrk="1" fontAlgn="base" latinLnBrk="0" hangingPunct="1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353" b="0" i="0" u="none" strike="noStrike" kern="1200" cap="none" spc="0" normalizeH="0" baseline="0" noProof="0" err="1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latin typeface="Segoe UI"/>
                    <a:ea typeface="Segoe UI" pitchFamily="34" charset="0"/>
                    <a:cs typeface="Segoe UI" pitchFamily="34" charset="0"/>
                  </a:endParaRPr>
                </a:p>
              </p:txBody>
            </p:sp>
          </p:grp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7B1248CB-56D3-493B-8AC9-0563E54D2BEF}"/>
                  </a:ext>
                </a:extLst>
              </p:cNvPr>
              <p:cNvCxnSpPr>
                <a:cxnSpLocks/>
                <a:endCxn id="76" idx="4"/>
              </p:cNvCxnSpPr>
              <p:nvPr/>
            </p:nvCxnSpPr>
            <p:spPr>
              <a:xfrm flipH="1" flipV="1">
                <a:off x="1198266" y="3422182"/>
                <a:ext cx="2236" cy="296032"/>
              </a:xfrm>
              <a:prstGeom prst="line">
                <a:avLst/>
              </a:prstGeom>
              <a:ln w="25400" cap="rnd">
                <a:solidFill>
                  <a:srgbClr val="000000"/>
                </a:solidFill>
                <a:headEnd type="none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3DE80C85-F167-4F4C-97C9-A621356CE892}"/>
              </a:ext>
            </a:extLst>
          </p:cNvPr>
          <p:cNvGrpSpPr/>
          <p:nvPr/>
        </p:nvGrpSpPr>
        <p:grpSpPr>
          <a:xfrm>
            <a:off x="6805622" y="2666592"/>
            <a:ext cx="3868125" cy="1865943"/>
            <a:chOff x="5627322" y="4053671"/>
            <a:chExt cx="3945688" cy="1903359"/>
          </a:xfrm>
        </p:grpSpPr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3375BD16-6023-495E-96F5-8F17629D6BC3}"/>
                </a:ext>
              </a:extLst>
            </p:cNvPr>
            <p:cNvGrpSpPr/>
            <p:nvPr/>
          </p:nvGrpSpPr>
          <p:grpSpPr>
            <a:xfrm>
              <a:off x="8620595" y="5204859"/>
              <a:ext cx="952415" cy="752171"/>
              <a:chOff x="8139571" y="4757257"/>
              <a:chExt cx="952415" cy="752171"/>
            </a:xfrm>
          </p:grpSpPr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957F3AEB-7773-4426-915A-9E0C10478FAA}"/>
                  </a:ext>
                </a:extLst>
              </p:cNvPr>
              <p:cNvSpPr txBox="1"/>
              <p:nvPr/>
            </p:nvSpPr>
            <p:spPr>
              <a:xfrm>
                <a:off x="8139571" y="5263207"/>
                <a:ext cx="952415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36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588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68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light" panose="020B0402040204020203" pitchFamily="34" charset="0"/>
                  </a:rPr>
                  <a:t>IT Admin</a:t>
                </a:r>
              </a:p>
            </p:txBody>
          </p:sp>
          <p:sp>
            <p:nvSpPr>
              <p:cNvPr id="87" name="people_3" title="Icon of a person surrounded by brackets">
                <a:extLst>
                  <a:ext uri="{FF2B5EF4-FFF2-40B4-BE49-F238E27FC236}">
                    <a16:creationId xmlns:a16="http://schemas.microsoft.com/office/drawing/2014/main" id="{A0FB70BE-BF78-40B5-AFAF-58936B73A79E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8404023" y="4757257"/>
                <a:ext cx="423515" cy="426902"/>
              </a:xfrm>
              <a:custGeom>
                <a:avLst/>
                <a:gdLst>
                  <a:gd name="T0" fmla="*/ 346 w 346"/>
                  <a:gd name="T1" fmla="*/ 265 h 348"/>
                  <a:gd name="T2" fmla="*/ 346 w 346"/>
                  <a:gd name="T3" fmla="*/ 348 h 348"/>
                  <a:gd name="T4" fmla="*/ 263 w 346"/>
                  <a:gd name="T5" fmla="*/ 348 h 348"/>
                  <a:gd name="T6" fmla="*/ 346 w 346"/>
                  <a:gd name="T7" fmla="*/ 83 h 348"/>
                  <a:gd name="T8" fmla="*/ 346 w 346"/>
                  <a:gd name="T9" fmla="*/ 0 h 348"/>
                  <a:gd name="T10" fmla="*/ 263 w 346"/>
                  <a:gd name="T11" fmla="*/ 0 h 348"/>
                  <a:gd name="T12" fmla="*/ 83 w 346"/>
                  <a:gd name="T13" fmla="*/ 0 h 348"/>
                  <a:gd name="T14" fmla="*/ 0 w 346"/>
                  <a:gd name="T15" fmla="*/ 0 h 348"/>
                  <a:gd name="T16" fmla="*/ 0 w 346"/>
                  <a:gd name="T17" fmla="*/ 83 h 348"/>
                  <a:gd name="T18" fmla="*/ 0 w 346"/>
                  <a:gd name="T19" fmla="*/ 265 h 348"/>
                  <a:gd name="T20" fmla="*/ 0 w 346"/>
                  <a:gd name="T21" fmla="*/ 348 h 348"/>
                  <a:gd name="T22" fmla="*/ 83 w 346"/>
                  <a:gd name="T23" fmla="*/ 348 h 348"/>
                  <a:gd name="T24" fmla="*/ 173 w 346"/>
                  <a:gd name="T25" fmla="*/ 184 h 348"/>
                  <a:gd name="T26" fmla="*/ 229 w 346"/>
                  <a:gd name="T27" fmla="*/ 129 h 348"/>
                  <a:gd name="T28" fmla="*/ 173 w 346"/>
                  <a:gd name="T29" fmla="*/ 73 h 348"/>
                  <a:gd name="T30" fmla="*/ 117 w 346"/>
                  <a:gd name="T31" fmla="*/ 129 h 348"/>
                  <a:gd name="T32" fmla="*/ 173 w 346"/>
                  <a:gd name="T33" fmla="*/ 184 h 348"/>
                  <a:gd name="T34" fmla="*/ 262 w 346"/>
                  <a:gd name="T35" fmla="*/ 275 h 348"/>
                  <a:gd name="T36" fmla="*/ 172 w 346"/>
                  <a:gd name="T37" fmla="*/ 184 h 348"/>
                  <a:gd name="T38" fmla="*/ 82 w 346"/>
                  <a:gd name="T39" fmla="*/ 275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46" h="348">
                    <a:moveTo>
                      <a:pt x="346" y="265"/>
                    </a:moveTo>
                    <a:cubicBezTo>
                      <a:pt x="346" y="348"/>
                      <a:pt x="346" y="348"/>
                      <a:pt x="346" y="348"/>
                    </a:cubicBezTo>
                    <a:cubicBezTo>
                      <a:pt x="263" y="348"/>
                      <a:pt x="263" y="348"/>
                      <a:pt x="263" y="348"/>
                    </a:cubicBezTo>
                    <a:moveTo>
                      <a:pt x="346" y="83"/>
                    </a:moveTo>
                    <a:cubicBezTo>
                      <a:pt x="346" y="0"/>
                      <a:pt x="346" y="0"/>
                      <a:pt x="346" y="0"/>
                    </a:cubicBezTo>
                    <a:cubicBezTo>
                      <a:pt x="263" y="0"/>
                      <a:pt x="263" y="0"/>
                      <a:pt x="263" y="0"/>
                    </a:cubicBezTo>
                    <a:moveTo>
                      <a:pt x="8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3"/>
                      <a:pt x="0" y="83"/>
                      <a:pt x="0" y="83"/>
                    </a:cubicBezTo>
                    <a:moveTo>
                      <a:pt x="0" y="265"/>
                    </a:moveTo>
                    <a:cubicBezTo>
                      <a:pt x="0" y="348"/>
                      <a:pt x="0" y="348"/>
                      <a:pt x="0" y="348"/>
                    </a:cubicBezTo>
                    <a:cubicBezTo>
                      <a:pt x="83" y="348"/>
                      <a:pt x="83" y="348"/>
                      <a:pt x="83" y="348"/>
                    </a:cubicBezTo>
                    <a:moveTo>
                      <a:pt x="173" y="184"/>
                    </a:moveTo>
                    <a:cubicBezTo>
                      <a:pt x="204" y="184"/>
                      <a:pt x="229" y="159"/>
                      <a:pt x="229" y="129"/>
                    </a:cubicBezTo>
                    <a:cubicBezTo>
                      <a:pt x="229" y="98"/>
                      <a:pt x="204" y="73"/>
                      <a:pt x="173" y="73"/>
                    </a:cubicBezTo>
                    <a:cubicBezTo>
                      <a:pt x="142" y="73"/>
                      <a:pt x="117" y="98"/>
                      <a:pt x="117" y="129"/>
                    </a:cubicBezTo>
                    <a:cubicBezTo>
                      <a:pt x="117" y="159"/>
                      <a:pt x="142" y="184"/>
                      <a:pt x="173" y="184"/>
                    </a:cubicBezTo>
                    <a:close/>
                    <a:moveTo>
                      <a:pt x="262" y="275"/>
                    </a:moveTo>
                    <a:cubicBezTo>
                      <a:pt x="262" y="225"/>
                      <a:pt x="222" y="184"/>
                      <a:pt x="172" y="184"/>
                    </a:cubicBezTo>
                    <a:cubicBezTo>
                      <a:pt x="122" y="184"/>
                      <a:pt x="82" y="225"/>
                      <a:pt x="82" y="275"/>
                    </a:cubicBezTo>
                  </a:path>
                </a:pathLst>
              </a:custGeom>
              <a:noFill/>
              <a:ln w="25400" cap="rnd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87857" tIns="43929" rIns="87857" bIns="4392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78548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3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52926C6D-EE63-463F-8B3A-CD29C94ACABD}"/>
                </a:ext>
              </a:extLst>
            </p:cNvPr>
            <p:cNvSpPr/>
            <p:nvPr/>
          </p:nvSpPr>
          <p:spPr bwMode="auto">
            <a:xfrm>
              <a:off x="5627322" y="4053671"/>
              <a:ext cx="127000" cy="207420"/>
            </a:xfrm>
            <a:prstGeom prst="rect">
              <a:avLst/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79285" tIns="143428" rIns="179285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10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353" b="0" i="0" u="none" strike="noStrike" kern="1200" cap="none" spc="0" normalizeH="0" baseline="0" noProof="0" err="1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52D596A2-E204-4D92-93C3-519326CCE560}"/>
              </a:ext>
            </a:extLst>
          </p:cNvPr>
          <p:cNvGrpSpPr/>
          <p:nvPr/>
        </p:nvGrpSpPr>
        <p:grpSpPr>
          <a:xfrm>
            <a:off x="992036" y="5307759"/>
            <a:ext cx="5697170" cy="1104603"/>
            <a:chOff x="1292521" y="5303639"/>
            <a:chExt cx="5811410" cy="1126755"/>
          </a:xfrm>
        </p:grpSpPr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08ACCCD0-0A02-49E2-9BC5-B46086020004}"/>
                </a:ext>
              </a:extLst>
            </p:cNvPr>
            <p:cNvGrpSpPr/>
            <p:nvPr/>
          </p:nvGrpSpPr>
          <p:grpSpPr>
            <a:xfrm>
              <a:off x="1292521" y="5303877"/>
              <a:ext cx="4407529" cy="719178"/>
              <a:chOff x="811497" y="4856275"/>
              <a:chExt cx="4407529" cy="719178"/>
            </a:xfrm>
          </p:grpSpPr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B970AE70-6A9E-488B-897E-8E62ACFB4303}"/>
                  </a:ext>
                </a:extLst>
              </p:cNvPr>
              <p:cNvGrpSpPr/>
              <p:nvPr/>
            </p:nvGrpSpPr>
            <p:grpSpPr>
              <a:xfrm>
                <a:off x="1198265" y="4856275"/>
                <a:ext cx="4020761" cy="259811"/>
                <a:chOff x="1440276" y="4856275"/>
                <a:chExt cx="2334941" cy="1005269"/>
              </a:xfrm>
            </p:grpSpPr>
            <p:cxnSp>
              <p:nvCxnSpPr>
                <p:cNvPr id="101" name="Straight Arrow Connector 100">
                  <a:extLst>
                    <a:ext uri="{FF2B5EF4-FFF2-40B4-BE49-F238E27FC236}">
                      <a16:creationId xmlns:a16="http://schemas.microsoft.com/office/drawing/2014/main" id="{DB205C8B-29C4-4B7D-AA77-AE165B781C6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440276" y="5861544"/>
                  <a:ext cx="2334941" cy="0"/>
                </a:xfrm>
                <a:prstGeom prst="straightConnector1">
                  <a:avLst/>
                </a:prstGeom>
                <a:ln w="38100" cap="rnd">
                  <a:solidFill>
                    <a:schemeClr val="accent1"/>
                  </a:solidFill>
                  <a:headEnd type="none" w="lg" len="med"/>
                  <a:tailEnd type="triangle" w="med" len="med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Arrow Connector 101">
                  <a:extLst>
                    <a:ext uri="{FF2B5EF4-FFF2-40B4-BE49-F238E27FC236}">
                      <a16:creationId xmlns:a16="http://schemas.microsoft.com/office/drawing/2014/main" id="{88EA26D5-D3C1-4321-AD87-8B242E936EF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440276" y="4856275"/>
                  <a:ext cx="0" cy="1005269"/>
                </a:xfrm>
                <a:prstGeom prst="straightConnector1">
                  <a:avLst/>
                </a:prstGeom>
                <a:ln w="38100" cap="rnd">
                  <a:solidFill>
                    <a:schemeClr val="accent1"/>
                  </a:solidFill>
                  <a:headEnd type="none"/>
                  <a:tailEnd type="none"/>
                </a:ln>
                <a:effectLst/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019EBE95-84CB-4D2A-8D94-621B982CC671}"/>
                  </a:ext>
                </a:extLst>
              </p:cNvPr>
              <p:cNvSpPr txBox="1"/>
              <p:nvPr/>
            </p:nvSpPr>
            <p:spPr>
              <a:xfrm>
                <a:off x="811497" y="5039142"/>
                <a:ext cx="368691" cy="153888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marR="0" lvl="0" indent="0" algn="ctr" defTabSz="9136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80" b="0" i="0" u="none" strike="noStrike" kern="0" cap="none" spc="-49" normalizeH="0" baseline="0" noProof="0">
                    <a:ln>
                      <a:noFill/>
                    </a:ln>
                    <a:solidFill>
                      <a:srgbClr val="0078D7"/>
                    </a:solidFill>
                    <a:effectLst/>
                    <a:uLnTx/>
                    <a:uFillTx/>
                    <a:latin typeface="Segoe UI"/>
                    <a:ea typeface="+mn-ea"/>
                    <a:cs typeface="Segoe UI Semilight" panose="020B0402040204020203" pitchFamily="34" charset="0"/>
                  </a:rPr>
                  <a:t>Ship</a:t>
                </a:r>
              </a:p>
            </p:txBody>
          </p: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9148104B-3E41-4E5E-A5CF-EFF26BD8644F}"/>
                  </a:ext>
                </a:extLst>
              </p:cNvPr>
              <p:cNvGrpSpPr/>
              <p:nvPr/>
            </p:nvGrpSpPr>
            <p:grpSpPr>
              <a:xfrm>
                <a:off x="2483993" y="4880381"/>
                <a:ext cx="2216953" cy="695072"/>
                <a:chOff x="1508536" y="4880381"/>
                <a:chExt cx="2216953" cy="695072"/>
              </a:xfrm>
            </p:grpSpPr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DF354267-47F6-4718-9EF3-A1EAD1DA6F4D}"/>
                    </a:ext>
                  </a:extLst>
                </p:cNvPr>
                <p:cNvSpPr txBox="1"/>
                <p:nvPr/>
              </p:nvSpPr>
              <p:spPr>
                <a:xfrm>
                  <a:off x="1508536" y="5421565"/>
                  <a:ext cx="2216953" cy="1538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marL="0" marR="0" lvl="0" indent="0" algn="l" defTabSz="91366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8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78D7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Segoe UI Semilight" panose="020B0402040204020203" pitchFamily="34" charset="0"/>
                    </a:rPr>
                    <a:t>Deliver direct to Employee</a:t>
                  </a:r>
                </a:p>
              </p:txBody>
            </p:sp>
            <p:grpSp>
              <p:nvGrpSpPr>
                <p:cNvPr id="97" name="Group 4">
                  <a:extLst>
                    <a:ext uri="{FF2B5EF4-FFF2-40B4-BE49-F238E27FC236}">
                      <a16:creationId xmlns:a16="http://schemas.microsoft.com/office/drawing/2014/main" id="{AFC98150-1221-4B38-A259-EEDEFB2AD502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962128" y="4880381"/>
                  <a:ext cx="544987" cy="444866"/>
                  <a:chOff x="-1031" y="1753"/>
                  <a:chExt cx="1007" cy="822"/>
                </a:xfrm>
                <a:solidFill>
                  <a:schemeClr val="bg1"/>
                </a:solidFill>
              </p:grpSpPr>
              <p:sp>
                <p:nvSpPr>
                  <p:cNvPr id="98" name="Freeform 5">
                    <a:extLst>
                      <a:ext uri="{FF2B5EF4-FFF2-40B4-BE49-F238E27FC236}">
                        <a16:creationId xmlns:a16="http://schemas.microsoft.com/office/drawing/2014/main" id="{A1C739F2-FB77-4FE9-AE2A-7789F7D977E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1031" y="1973"/>
                    <a:ext cx="1007" cy="602"/>
                  </a:xfrm>
                  <a:custGeom>
                    <a:avLst/>
                    <a:gdLst>
                      <a:gd name="T0" fmla="*/ 506 w 1007"/>
                      <a:gd name="T1" fmla="*/ 119 h 602"/>
                      <a:gd name="T2" fmla="*/ 696 w 1007"/>
                      <a:gd name="T3" fmla="*/ 254 h 602"/>
                      <a:gd name="T4" fmla="*/ 1007 w 1007"/>
                      <a:gd name="T5" fmla="*/ 104 h 602"/>
                      <a:gd name="T6" fmla="*/ 826 w 1007"/>
                      <a:gd name="T7" fmla="*/ 0 h 602"/>
                      <a:gd name="T8" fmla="*/ 503 w 1007"/>
                      <a:gd name="T9" fmla="*/ 118 h 602"/>
                      <a:gd name="T10" fmla="*/ 182 w 1007"/>
                      <a:gd name="T11" fmla="*/ 0 h 602"/>
                      <a:gd name="T12" fmla="*/ 0 w 1007"/>
                      <a:gd name="T13" fmla="*/ 104 h 602"/>
                      <a:gd name="T14" fmla="*/ 310 w 1007"/>
                      <a:gd name="T15" fmla="*/ 254 h 602"/>
                      <a:gd name="T16" fmla="*/ 503 w 1007"/>
                      <a:gd name="T17" fmla="*/ 118 h 602"/>
                      <a:gd name="T18" fmla="*/ 503 w 1007"/>
                      <a:gd name="T19" fmla="*/ 118 h 602"/>
                      <a:gd name="T20" fmla="*/ 324 w 1007"/>
                      <a:gd name="T21" fmla="*/ 302 h 602"/>
                      <a:gd name="T22" fmla="*/ 196 w 1007"/>
                      <a:gd name="T23" fmla="*/ 229 h 602"/>
                      <a:gd name="T24" fmla="*/ 196 w 1007"/>
                      <a:gd name="T25" fmla="*/ 460 h 602"/>
                      <a:gd name="T26" fmla="*/ 503 w 1007"/>
                      <a:gd name="T27" fmla="*/ 602 h 602"/>
                      <a:gd name="T28" fmla="*/ 811 w 1007"/>
                      <a:gd name="T29" fmla="*/ 460 h 602"/>
                      <a:gd name="T30" fmla="*/ 811 w 1007"/>
                      <a:gd name="T31" fmla="*/ 229 h 602"/>
                      <a:gd name="T32" fmla="*/ 684 w 1007"/>
                      <a:gd name="T33" fmla="*/ 302 h 602"/>
                      <a:gd name="T34" fmla="*/ 506 w 1007"/>
                      <a:gd name="T35" fmla="*/ 119 h 602"/>
                      <a:gd name="connsiteX0" fmla="*/ 5025 w 10000"/>
                      <a:gd name="connsiteY0" fmla="*/ 1977 h 10000"/>
                      <a:gd name="connsiteX1" fmla="*/ 6912 w 10000"/>
                      <a:gd name="connsiteY1" fmla="*/ 4219 h 10000"/>
                      <a:gd name="connsiteX2" fmla="*/ 10000 w 10000"/>
                      <a:gd name="connsiteY2" fmla="*/ 1728 h 10000"/>
                      <a:gd name="connsiteX3" fmla="*/ 8203 w 10000"/>
                      <a:gd name="connsiteY3" fmla="*/ 0 h 10000"/>
                      <a:gd name="connsiteX4" fmla="*/ 4995 w 10000"/>
                      <a:gd name="connsiteY4" fmla="*/ 1960 h 10000"/>
                      <a:gd name="connsiteX5" fmla="*/ 1807 w 10000"/>
                      <a:gd name="connsiteY5" fmla="*/ 0 h 10000"/>
                      <a:gd name="connsiteX6" fmla="*/ 0 w 10000"/>
                      <a:gd name="connsiteY6" fmla="*/ 1728 h 10000"/>
                      <a:gd name="connsiteX7" fmla="*/ 3078 w 10000"/>
                      <a:gd name="connsiteY7" fmla="*/ 4219 h 10000"/>
                      <a:gd name="connsiteX8" fmla="*/ 4995 w 10000"/>
                      <a:gd name="connsiteY8" fmla="*/ 1960 h 10000"/>
                      <a:gd name="connsiteX9" fmla="*/ 4995 w 10000"/>
                      <a:gd name="connsiteY9" fmla="*/ 1960 h 10000"/>
                      <a:gd name="connsiteX10" fmla="*/ 3217 w 10000"/>
                      <a:gd name="connsiteY10" fmla="*/ 5017 h 10000"/>
                      <a:gd name="connsiteX11" fmla="*/ 1924 w 10000"/>
                      <a:gd name="connsiteY11" fmla="*/ 3248 h 10000"/>
                      <a:gd name="connsiteX12" fmla="*/ 1946 w 10000"/>
                      <a:gd name="connsiteY12" fmla="*/ 7641 h 10000"/>
                      <a:gd name="connsiteX13" fmla="*/ 4995 w 10000"/>
                      <a:gd name="connsiteY13" fmla="*/ 10000 h 10000"/>
                      <a:gd name="connsiteX14" fmla="*/ 8054 w 10000"/>
                      <a:gd name="connsiteY14" fmla="*/ 7641 h 10000"/>
                      <a:gd name="connsiteX15" fmla="*/ 8054 w 10000"/>
                      <a:gd name="connsiteY15" fmla="*/ 3804 h 10000"/>
                      <a:gd name="connsiteX16" fmla="*/ 6792 w 10000"/>
                      <a:gd name="connsiteY16" fmla="*/ 5017 h 10000"/>
                      <a:gd name="connsiteX17" fmla="*/ 5025 w 10000"/>
                      <a:gd name="connsiteY17" fmla="*/ 1977 h 10000"/>
                      <a:gd name="connsiteX0" fmla="*/ 5025 w 10000"/>
                      <a:gd name="connsiteY0" fmla="*/ 1977 h 10000"/>
                      <a:gd name="connsiteX1" fmla="*/ 6912 w 10000"/>
                      <a:gd name="connsiteY1" fmla="*/ 4219 h 10000"/>
                      <a:gd name="connsiteX2" fmla="*/ 10000 w 10000"/>
                      <a:gd name="connsiteY2" fmla="*/ 1728 h 10000"/>
                      <a:gd name="connsiteX3" fmla="*/ 8203 w 10000"/>
                      <a:gd name="connsiteY3" fmla="*/ 0 h 10000"/>
                      <a:gd name="connsiteX4" fmla="*/ 4995 w 10000"/>
                      <a:gd name="connsiteY4" fmla="*/ 1960 h 10000"/>
                      <a:gd name="connsiteX5" fmla="*/ 1807 w 10000"/>
                      <a:gd name="connsiteY5" fmla="*/ 0 h 10000"/>
                      <a:gd name="connsiteX6" fmla="*/ 0 w 10000"/>
                      <a:gd name="connsiteY6" fmla="*/ 1728 h 10000"/>
                      <a:gd name="connsiteX7" fmla="*/ 3078 w 10000"/>
                      <a:gd name="connsiteY7" fmla="*/ 4219 h 10000"/>
                      <a:gd name="connsiteX8" fmla="*/ 4995 w 10000"/>
                      <a:gd name="connsiteY8" fmla="*/ 1960 h 10000"/>
                      <a:gd name="connsiteX9" fmla="*/ 4995 w 10000"/>
                      <a:gd name="connsiteY9" fmla="*/ 1960 h 10000"/>
                      <a:gd name="connsiteX10" fmla="*/ 3062 w 10000"/>
                      <a:gd name="connsiteY10" fmla="*/ 4201 h 10000"/>
                      <a:gd name="connsiteX11" fmla="*/ 1924 w 10000"/>
                      <a:gd name="connsiteY11" fmla="*/ 3248 h 10000"/>
                      <a:gd name="connsiteX12" fmla="*/ 1946 w 10000"/>
                      <a:gd name="connsiteY12" fmla="*/ 7641 h 10000"/>
                      <a:gd name="connsiteX13" fmla="*/ 4995 w 10000"/>
                      <a:gd name="connsiteY13" fmla="*/ 10000 h 10000"/>
                      <a:gd name="connsiteX14" fmla="*/ 8054 w 10000"/>
                      <a:gd name="connsiteY14" fmla="*/ 7641 h 10000"/>
                      <a:gd name="connsiteX15" fmla="*/ 8054 w 10000"/>
                      <a:gd name="connsiteY15" fmla="*/ 3804 h 10000"/>
                      <a:gd name="connsiteX16" fmla="*/ 6792 w 10000"/>
                      <a:gd name="connsiteY16" fmla="*/ 5017 h 10000"/>
                      <a:gd name="connsiteX17" fmla="*/ 5025 w 10000"/>
                      <a:gd name="connsiteY17" fmla="*/ 1977 h 10000"/>
                      <a:gd name="connsiteX0" fmla="*/ 5025 w 10000"/>
                      <a:gd name="connsiteY0" fmla="*/ 1977 h 10000"/>
                      <a:gd name="connsiteX1" fmla="*/ 6912 w 10000"/>
                      <a:gd name="connsiteY1" fmla="*/ 4219 h 10000"/>
                      <a:gd name="connsiteX2" fmla="*/ 10000 w 10000"/>
                      <a:gd name="connsiteY2" fmla="*/ 1728 h 10000"/>
                      <a:gd name="connsiteX3" fmla="*/ 8203 w 10000"/>
                      <a:gd name="connsiteY3" fmla="*/ 0 h 10000"/>
                      <a:gd name="connsiteX4" fmla="*/ 4995 w 10000"/>
                      <a:gd name="connsiteY4" fmla="*/ 1960 h 10000"/>
                      <a:gd name="connsiteX5" fmla="*/ 1807 w 10000"/>
                      <a:gd name="connsiteY5" fmla="*/ 0 h 10000"/>
                      <a:gd name="connsiteX6" fmla="*/ 0 w 10000"/>
                      <a:gd name="connsiteY6" fmla="*/ 1728 h 10000"/>
                      <a:gd name="connsiteX7" fmla="*/ 3078 w 10000"/>
                      <a:gd name="connsiteY7" fmla="*/ 4219 h 10000"/>
                      <a:gd name="connsiteX8" fmla="*/ 4995 w 10000"/>
                      <a:gd name="connsiteY8" fmla="*/ 1960 h 10000"/>
                      <a:gd name="connsiteX9" fmla="*/ 4995 w 10000"/>
                      <a:gd name="connsiteY9" fmla="*/ 1960 h 10000"/>
                      <a:gd name="connsiteX10" fmla="*/ 3062 w 10000"/>
                      <a:gd name="connsiteY10" fmla="*/ 4201 h 10000"/>
                      <a:gd name="connsiteX11" fmla="*/ 1924 w 10000"/>
                      <a:gd name="connsiteY11" fmla="*/ 3248 h 10000"/>
                      <a:gd name="connsiteX12" fmla="*/ 1946 w 10000"/>
                      <a:gd name="connsiteY12" fmla="*/ 7641 h 10000"/>
                      <a:gd name="connsiteX13" fmla="*/ 4995 w 10000"/>
                      <a:gd name="connsiteY13" fmla="*/ 10000 h 10000"/>
                      <a:gd name="connsiteX14" fmla="*/ 8054 w 10000"/>
                      <a:gd name="connsiteY14" fmla="*/ 7641 h 10000"/>
                      <a:gd name="connsiteX15" fmla="*/ 8054 w 10000"/>
                      <a:gd name="connsiteY15" fmla="*/ 3804 h 10000"/>
                      <a:gd name="connsiteX16" fmla="*/ 6969 w 10000"/>
                      <a:gd name="connsiteY16" fmla="*/ 4313 h 10000"/>
                      <a:gd name="connsiteX17" fmla="*/ 5025 w 10000"/>
                      <a:gd name="connsiteY17" fmla="*/ 1977 h 10000"/>
                      <a:gd name="connsiteX0" fmla="*/ 5025 w 10000"/>
                      <a:gd name="connsiteY0" fmla="*/ 1977 h 10000"/>
                      <a:gd name="connsiteX1" fmla="*/ 6912 w 10000"/>
                      <a:gd name="connsiteY1" fmla="*/ 4219 h 10000"/>
                      <a:gd name="connsiteX2" fmla="*/ 10000 w 10000"/>
                      <a:gd name="connsiteY2" fmla="*/ 1728 h 10000"/>
                      <a:gd name="connsiteX3" fmla="*/ 8203 w 10000"/>
                      <a:gd name="connsiteY3" fmla="*/ 0 h 10000"/>
                      <a:gd name="connsiteX4" fmla="*/ 4995 w 10000"/>
                      <a:gd name="connsiteY4" fmla="*/ 1960 h 10000"/>
                      <a:gd name="connsiteX5" fmla="*/ 1807 w 10000"/>
                      <a:gd name="connsiteY5" fmla="*/ 0 h 10000"/>
                      <a:gd name="connsiteX6" fmla="*/ 0 w 10000"/>
                      <a:gd name="connsiteY6" fmla="*/ 1728 h 10000"/>
                      <a:gd name="connsiteX7" fmla="*/ 3078 w 10000"/>
                      <a:gd name="connsiteY7" fmla="*/ 4219 h 10000"/>
                      <a:gd name="connsiteX8" fmla="*/ 4995 w 10000"/>
                      <a:gd name="connsiteY8" fmla="*/ 1960 h 10000"/>
                      <a:gd name="connsiteX9" fmla="*/ 4995 w 10000"/>
                      <a:gd name="connsiteY9" fmla="*/ 1960 h 10000"/>
                      <a:gd name="connsiteX10" fmla="*/ 3062 w 10000"/>
                      <a:gd name="connsiteY10" fmla="*/ 4201 h 10000"/>
                      <a:gd name="connsiteX11" fmla="*/ 1924 w 10000"/>
                      <a:gd name="connsiteY11" fmla="*/ 3248 h 10000"/>
                      <a:gd name="connsiteX12" fmla="*/ 1946 w 10000"/>
                      <a:gd name="connsiteY12" fmla="*/ 7641 h 10000"/>
                      <a:gd name="connsiteX13" fmla="*/ 4995 w 10000"/>
                      <a:gd name="connsiteY13" fmla="*/ 10000 h 10000"/>
                      <a:gd name="connsiteX14" fmla="*/ 8054 w 10000"/>
                      <a:gd name="connsiteY14" fmla="*/ 7641 h 10000"/>
                      <a:gd name="connsiteX15" fmla="*/ 8054 w 10000"/>
                      <a:gd name="connsiteY15" fmla="*/ 3322 h 10000"/>
                      <a:gd name="connsiteX16" fmla="*/ 6969 w 10000"/>
                      <a:gd name="connsiteY16" fmla="*/ 4313 h 10000"/>
                      <a:gd name="connsiteX17" fmla="*/ 5025 w 10000"/>
                      <a:gd name="connsiteY17" fmla="*/ 1977 h 10000"/>
                      <a:gd name="connsiteX0" fmla="*/ 5025 w 10000"/>
                      <a:gd name="connsiteY0" fmla="*/ 1977 h 10000"/>
                      <a:gd name="connsiteX1" fmla="*/ 6912 w 10000"/>
                      <a:gd name="connsiteY1" fmla="*/ 4219 h 10000"/>
                      <a:gd name="connsiteX2" fmla="*/ 10000 w 10000"/>
                      <a:gd name="connsiteY2" fmla="*/ 1728 h 10000"/>
                      <a:gd name="connsiteX3" fmla="*/ 8203 w 10000"/>
                      <a:gd name="connsiteY3" fmla="*/ 0 h 10000"/>
                      <a:gd name="connsiteX4" fmla="*/ 4995 w 10000"/>
                      <a:gd name="connsiteY4" fmla="*/ 1960 h 10000"/>
                      <a:gd name="connsiteX5" fmla="*/ 1807 w 10000"/>
                      <a:gd name="connsiteY5" fmla="*/ 0 h 10000"/>
                      <a:gd name="connsiteX6" fmla="*/ 0 w 10000"/>
                      <a:gd name="connsiteY6" fmla="*/ 1728 h 10000"/>
                      <a:gd name="connsiteX7" fmla="*/ 3078 w 10000"/>
                      <a:gd name="connsiteY7" fmla="*/ 4219 h 10000"/>
                      <a:gd name="connsiteX8" fmla="*/ 4995 w 10000"/>
                      <a:gd name="connsiteY8" fmla="*/ 1960 h 10000"/>
                      <a:gd name="connsiteX9" fmla="*/ 4995 w 10000"/>
                      <a:gd name="connsiteY9" fmla="*/ 1960 h 10000"/>
                      <a:gd name="connsiteX10" fmla="*/ 3062 w 10000"/>
                      <a:gd name="connsiteY10" fmla="*/ 4201 h 10000"/>
                      <a:gd name="connsiteX11" fmla="*/ 1924 w 10000"/>
                      <a:gd name="connsiteY11" fmla="*/ 3248 h 10000"/>
                      <a:gd name="connsiteX12" fmla="*/ 1946 w 10000"/>
                      <a:gd name="connsiteY12" fmla="*/ 7641 h 10000"/>
                      <a:gd name="connsiteX13" fmla="*/ 4995 w 10000"/>
                      <a:gd name="connsiteY13" fmla="*/ 10000 h 10000"/>
                      <a:gd name="connsiteX14" fmla="*/ 8054 w 10000"/>
                      <a:gd name="connsiteY14" fmla="*/ 7641 h 10000"/>
                      <a:gd name="connsiteX15" fmla="*/ 8054 w 10000"/>
                      <a:gd name="connsiteY15" fmla="*/ 3322 h 10000"/>
                      <a:gd name="connsiteX16" fmla="*/ 6947 w 10000"/>
                      <a:gd name="connsiteY16" fmla="*/ 4202 h 10000"/>
                      <a:gd name="connsiteX17" fmla="*/ 5025 w 10000"/>
                      <a:gd name="connsiteY17" fmla="*/ 1977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</a:cxnLst>
                    <a:rect l="l" t="t" r="r" b="b"/>
                    <a:pathLst>
                      <a:path w="10000" h="10000">
                        <a:moveTo>
                          <a:pt x="5025" y="1977"/>
                        </a:moveTo>
                        <a:lnTo>
                          <a:pt x="6912" y="4219"/>
                        </a:lnTo>
                        <a:lnTo>
                          <a:pt x="10000" y="1728"/>
                        </a:lnTo>
                        <a:lnTo>
                          <a:pt x="8203" y="0"/>
                        </a:lnTo>
                        <a:lnTo>
                          <a:pt x="4995" y="1960"/>
                        </a:lnTo>
                        <a:lnTo>
                          <a:pt x="1807" y="0"/>
                        </a:lnTo>
                        <a:lnTo>
                          <a:pt x="0" y="1728"/>
                        </a:lnTo>
                        <a:lnTo>
                          <a:pt x="3078" y="4219"/>
                        </a:lnTo>
                        <a:lnTo>
                          <a:pt x="4995" y="1960"/>
                        </a:lnTo>
                        <a:lnTo>
                          <a:pt x="4995" y="1960"/>
                        </a:lnTo>
                        <a:lnTo>
                          <a:pt x="3062" y="4201"/>
                        </a:lnTo>
                        <a:lnTo>
                          <a:pt x="1924" y="3248"/>
                        </a:lnTo>
                        <a:cubicBezTo>
                          <a:pt x="1931" y="4712"/>
                          <a:pt x="1939" y="6177"/>
                          <a:pt x="1946" y="7641"/>
                        </a:cubicBezTo>
                        <a:lnTo>
                          <a:pt x="4995" y="10000"/>
                        </a:lnTo>
                        <a:lnTo>
                          <a:pt x="8054" y="7641"/>
                        </a:lnTo>
                        <a:lnTo>
                          <a:pt x="8054" y="3322"/>
                        </a:lnTo>
                        <a:lnTo>
                          <a:pt x="6947" y="4202"/>
                        </a:lnTo>
                        <a:lnTo>
                          <a:pt x="5025" y="1977"/>
                        </a:lnTo>
                        <a:close/>
                      </a:path>
                    </a:pathLst>
                  </a:custGeom>
                  <a:grpFill/>
                  <a:ln w="25400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3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99" name="Freeform 6">
                    <a:extLst>
                      <a:ext uri="{FF2B5EF4-FFF2-40B4-BE49-F238E27FC236}">
                        <a16:creationId xmlns:a16="http://schemas.microsoft.com/office/drawing/2014/main" id="{3AB07449-E868-44E0-89C9-F9451BA4D86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983" y="1753"/>
                    <a:ext cx="455" cy="220"/>
                  </a:xfrm>
                  <a:custGeom>
                    <a:avLst/>
                    <a:gdLst>
                      <a:gd name="T0" fmla="*/ 326 w 455"/>
                      <a:gd name="T1" fmla="*/ 0 h 220"/>
                      <a:gd name="T2" fmla="*/ 0 w 455"/>
                      <a:gd name="T3" fmla="*/ 72 h 220"/>
                      <a:gd name="T4" fmla="*/ 134 w 455"/>
                      <a:gd name="T5" fmla="*/ 220 h 220"/>
                      <a:gd name="T6" fmla="*/ 455 w 455"/>
                      <a:gd name="T7" fmla="*/ 130 h 220"/>
                      <a:gd name="T8" fmla="*/ 326 w 455"/>
                      <a:gd name="T9" fmla="*/ 0 h 2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5" h="220">
                        <a:moveTo>
                          <a:pt x="326" y="0"/>
                        </a:moveTo>
                        <a:lnTo>
                          <a:pt x="0" y="72"/>
                        </a:lnTo>
                        <a:lnTo>
                          <a:pt x="134" y="220"/>
                        </a:lnTo>
                        <a:lnTo>
                          <a:pt x="455" y="130"/>
                        </a:lnTo>
                        <a:lnTo>
                          <a:pt x="326" y="0"/>
                        </a:lnTo>
                        <a:close/>
                      </a:path>
                    </a:pathLst>
                  </a:custGeom>
                  <a:grpFill/>
                  <a:ln w="25400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3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0" name="Freeform 7">
                    <a:extLst>
                      <a:ext uri="{FF2B5EF4-FFF2-40B4-BE49-F238E27FC236}">
                        <a16:creationId xmlns:a16="http://schemas.microsoft.com/office/drawing/2014/main" id="{21518AF4-64A9-463D-8824-6643E23442B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-526" y="1753"/>
                    <a:ext cx="454" cy="220"/>
                  </a:xfrm>
                  <a:custGeom>
                    <a:avLst/>
                    <a:gdLst>
                      <a:gd name="T0" fmla="*/ 128 w 454"/>
                      <a:gd name="T1" fmla="*/ 0 h 220"/>
                      <a:gd name="T2" fmla="*/ 0 w 454"/>
                      <a:gd name="T3" fmla="*/ 130 h 220"/>
                      <a:gd name="T4" fmla="*/ 321 w 454"/>
                      <a:gd name="T5" fmla="*/ 220 h 220"/>
                      <a:gd name="T6" fmla="*/ 454 w 454"/>
                      <a:gd name="T7" fmla="*/ 72 h 220"/>
                      <a:gd name="T8" fmla="*/ 128 w 454"/>
                      <a:gd name="T9" fmla="*/ 0 h 22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454" h="220">
                        <a:moveTo>
                          <a:pt x="128" y="0"/>
                        </a:moveTo>
                        <a:lnTo>
                          <a:pt x="0" y="130"/>
                        </a:lnTo>
                        <a:lnTo>
                          <a:pt x="321" y="220"/>
                        </a:lnTo>
                        <a:lnTo>
                          <a:pt x="454" y="72"/>
                        </a:lnTo>
                        <a:lnTo>
                          <a:pt x="128" y="0"/>
                        </a:lnTo>
                        <a:close/>
                      </a:path>
                    </a:pathLst>
                  </a:custGeom>
                  <a:grpFill/>
                  <a:ln w="25400">
                    <a:solidFill>
                      <a:srgbClr val="000000"/>
                    </a:solidFill>
                    <a:round/>
                    <a:headEnd/>
                    <a:tailEnd/>
                  </a:ln>
                </p:spPr>
                <p:txBody>
                  <a:bodyPr vert="horz" wrap="square" lIns="89642" tIns="44821" rIns="89642" bIns="44821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914314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65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282828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</p:grpSp>
          </p:grp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E21AF4FD-006B-4EC6-87C0-778B83FCBFE4}"/>
                </a:ext>
              </a:extLst>
            </p:cNvPr>
            <p:cNvGrpSpPr/>
            <p:nvPr/>
          </p:nvGrpSpPr>
          <p:grpSpPr>
            <a:xfrm>
              <a:off x="5332384" y="5303639"/>
              <a:ext cx="1771547" cy="1126755"/>
              <a:chOff x="-868643" y="4853801"/>
              <a:chExt cx="1771547" cy="1126755"/>
            </a:xfrm>
          </p:grpSpPr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2664161A-FA99-4F60-97BA-FBD4081D7182}"/>
                  </a:ext>
                </a:extLst>
              </p:cNvPr>
              <p:cNvSpPr/>
              <p:nvPr/>
            </p:nvSpPr>
            <p:spPr>
              <a:xfrm>
                <a:off x="-868643" y="5488113"/>
                <a:ext cx="1771547" cy="492443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ctr" defTabSz="91431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68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Employee unboxes device, self-deploys</a:t>
                </a:r>
              </a:p>
            </p:txBody>
          </p:sp>
          <p:sp>
            <p:nvSpPr>
              <p:cNvPr id="92" name="Touchscreen" title="Icon of a closed hand with one finger touching a screen">
                <a:extLst>
                  <a:ext uri="{FF2B5EF4-FFF2-40B4-BE49-F238E27FC236}">
                    <a16:creationId xmlns:a16="http://schemas.microsoft.com/office/drawing/2014/main" id="{4E728A1A-E15B-4B0B-9C39-43FD04B4FE79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-236786" y="4853801"/>
                <a:ext cx="608389" cy="570425"/>
              </a:xfrm>
              <a:custGeom>
                <a:avLst/>
                <a:gdLst>
                  <a:gd name="T0" fmla="*/ 1917 w 3772"/>
                  <a:gd name="T1" fmla="*/ 1791 h 3535"/>
                  <a:gd name="T2" fmla="*/ 1917 w 3772"/>
                  <a:gd name="T3" fmla="*/ 1985 h 3535"/>
                  <a:gd name="T4" fmla="*/ 1917 w 3772"/>
                  <a:gd name="T5" fmla="*/ 1123 h 3535"/>
                  <a:gd name="T6" fmla="*/ 1745 w 3772"/>
                  <a:gd name="T7" fmla="*/ 951 h 3535"/>
                  <a:gd name="T8" fmla="*/ 1573 w 3772"/>
                  <a:gd name="T9" fmla="*/ 1123 h 3535"/>
                  <a:gd name="T10" fmla="*/ 1573 w 3772"/>
                  <a:gd name="T11" fmla="*/ 1135 h 3535"/>
                  <a:gd name="T12" fmla="*/ 1573 w 3772"/>
                  <a:gd name="T13" fmla="*/ 2527 h 3535"/>
                  <a:gd name="T14" fmla="*/ 1469 w 3772"/>
                  <a:gd name="T15" fmla="*/ 2569 h 3535"/>
                  <a:gd name="T16" fmla="*/ 1282 w 3772"/>
                  <a:gd name="T17" fmla="*/ 2383 h 3535"/>
                  <a:gd name="T18" fmla="*/ 1023 w 3772"/>
                  <a:gd name="T19" fmla="*/ 2383 h 3535"/>
                  <a:gd name="T20" fmla="*/ 1023 w 3772"/>
                  <a:gd name="T21" fmla="*/ 2641 h 3535"/>
                  <a:gd name="T22" fmla="*/ 1659 w 3772"/>
                  <a:gd name="T23" fmla="*/ 3277 h 3535"/>
                  <a:gd name="T24" fmla="*/ 2262 w 3772"/>
                  <a:gd name="T25" fmla="*/ 3535 h 3535"/>
                  <a:gd name="T26" fmla="*/ 2951 w 3772"/>
                  <a:gd name="T27" fmla="*/ 2846 h 3535"/>
                  <a:gd name="T28" fmla="*/ 2951 w 3772"/>
                  <a:gd name="T29" fmla="*/ 2184 h 3535"/>
                  <a:gd name="T30" fmla="*/ 2820 w 3772"/>
                  <a:gd name="T31" fmla="*/ 2017 h 3535"/>
                  <a:gd name="T32" fmla="*/ 1917 w 3772"/>
                  <a:gd name="T33" fmla="*/ 1791 h 3535"/>
                  <a:gd name="T34" fmla="*/ 1917 w 3772"/>
                  <a:gd name="T35" fmla="*/ 1123 h 3535"/>
                  <a:gd name="T36" fmla="*/ 1917 w 3772"/>
                  <a:gd name="T37" fmla="*/ 1602 h 3535"/>
                  <a:gd name="T38" fmla="*/ 2254 w 3772"/>
                  <a:gd name="T39" fmla="*/ 1123 h 3535"/>
                  <a:gd name="T40" fmla="*/ 1744 w 3772"/>
                  <a:gd name="T41" fmla="*/ 614 h 3535"/>
                  <a:gd name="T42" fmla="*/ 1235 w 3772"/>
                  <a:gd name="T43" fmla="*/ 1123 h 3535"/>
                  <a:gd name="T44" fmla="*/ 1573 w 3772"/>
                  <a:gd name="T45" fmla="*/ 1603 h 3535"/>
                  <a:gd name="T46" fmla="*/ 2951 w 3772"/>
                  <a:gd name="T47" fmla="*/ 2672 h 3535"/>
                  <a:gd name="T48" fmla="*/ 3657 w 3772"/>
                  <a:gd name="T49" fmla="*/ 2672 h 3535"/>
                  <a:gd name="T50" fmla="*/ 3772 w 3772"/>
                  <a:gd name="T51" fmla="*/ 2557 h 3535"/>
                  <a:gd name="T52" fmla="*/ 3772 w 3772"/>
                  <a:gd name="T53" fmla="*/ 115 h 3535"/>
                  <a:gd name="T54" fmla="*/ 3657 w 3772"/>
                  <a:gd name="T55" fmla="*/ 0 h 3535"/>
                  <a:gd name="T56" fmla="*/ 115 w 3772"/>
                  <a:gd name="T57" fmla="*/ 0 h 3535"/>
                  <a:gd name="T58" fmla="*/ 0 w 3772"/>
                  <a:gd name="T59" fmla="*/ 115 h 3535"/>
                  <a:gd name="T60" fmla="*/ 0 w 3772"/>
                  <a:gd name="T61" fmla="*/ 2557 h 3535"/>
                  <a:gd name="T62" fmla="*/ 115 w 3772"/>
                  <a:gd name="T63" fmla="*/ 2672 h 3535"/>
                  <a:gd name="T64" fmla="*/ 1054 w 3772"/>
                  <a:gd name="T65" fmla="*/ 2672 h 3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772" h="3535">
                    <a:moveTo>
                      <a:pt x="1917" y="1791"/>
                    </a:moveTo>
                    <a:cubicBezTo>
                      <a:pt x="1917" y="1985"/>
                      <a:pt x="1917" y="1985"/>
                      <a:pt x="1917" y="1985"/>
                    </a:cubicBezTo>
                    <a:moveTo>
                      <a:pt x="1917" y="1123"/>
                    </a:moveTo>
                    <a:cubicBezTo>
                      <a:pt x="1917" y="1028"/>
                      <a:pt x="1840" y="951"/>
                      <a:pt x="1745" y="951"/>
                    </a:cubicBezTo>
                    <a:cubicBezTo>
                      <a:pt x="1650" y="951"/>
                      <a:pt x="1573" y="1028"/>
                      <a:pt x="1573" y="1123"/>
                    </a:cubicBezTo>
                    <a:cubicBezTo>
                      <a:pt x="1573" y="1123"/>
                      <a:pt x="1573" y="1127"/>
                      <a:pt x="1573" y="1135"/>
                    </a:cubicBezTo>
                    <a:cubicBezTo>
                      <a:pt x="1573" y="1252"/>
                      <a:pt x="1573" y="2194"/>
                      <a:pt x="1573" y="2527"/>
                    </a:cubicBezTo>
                    <a:cubicBezTo>
                      <a:pt x="1573" y="2581"/>
                      <a:pt x="1507" y="2608"/>
                      <a:pt x="1469" y="2569"/>
                    </a:cubicBezTo>
                    <a:cubicBezTo>
                      <a:pt x="1282" y="2383"/>
                      <a:pt x="1282" y="2383"/>
                      <a:pt x="1282" y="2383"/>
                    </a:cubicBezTo>
                    <a:cubicBezTo>
                      <a:pt x="1210" y="2311"/>
                      <a:pt x="1095" y="2311"/>
                      <a:pt x="1023" y="2383"/>
                    </a:cubicBezTo>
                    <a:cubicBezTo>
                      <a:pt x="952" y="2454"/>
                      <a:pt x="952" y="2570"/>
                      <a:pt x="1023" y="2641"/>
                    </a:cubicBezTo>
                    <a:cubicBezTo>
                      <a:pt x="1659" y="3277"/>
                      <a:pt x="1659" y="3277"/>
                      <a:pt x="1659" y="3277"/>
                    </a:cubicBezTo>
                    <a:cubicBezTo>
                      <a:pt x="1813" y="3436"/>
                      <a:pt x="2026" y="3535"/>
                      <a:pt x="2262" y="3535"/>
                    </a:cubicBezTo>
                    <a:cubicBezTo>
                      <a:pt x="2643" y="3535"/>
                      <a:pt x="2951" y="3227"/>
                      <a:pt x="2951" y="2846"/>
                    </a:cubicBezTo>
                    <a:cubicBezTo>
                      <a:pt x="2951" y="2184"/>
                      <a:pt x="2951" y="2184"/>
                      <a:pt x="2951" y="2184"/>
                    </a:cubicBezTo>
                    <a:cubicBezTo>
                      <a:pt x="2951" y="2105"/>
                      <a:pt x="2897" y="2036"/>
                      <a:pt x="2820" y="2017"/>
                    </a:cubicBezTo>
                    <a:cubicBezTo>
                      <a:pt x="1917" y="1791"/>
                      <a:pt x="1917" y="1791"/>
                      <a:pt x="1917" y="1791"/>
                    </a:cubicBezTo>
                    <a:lnTo>
                      <a:pt x="1917" y="1123"/>
                    </a:lnTo>
                    <a:close/>
                    <a:moveTo>
                      <a:pt x="1917" y="1602"/>
                    </a:moveTo>
                    <a:cubicBezTo>
                      <a:pt x="2114" y="1532"/>
                      <a:pt x="2254" y="1344"/>
                      <a:pt x="2254" y="1123"/>
                    </a:cubicBezTo>
                    <a:cubicBezTo>
                      <a:pt x="2254" y="842"/>
                      <a:pt x="2026" y="614"/>
                      <a:pt x="1744" y="614"/>
                    </a:cubicBezTo>
                    <a:cubicBezTo>
                      <a:pt x="1463" y="614"/>
                      <a:pt x="1235" y="842"/>
                      <a:pt x="1235" y="1123"/>
                    </a:cubicBezTo>
                    <a:cubicBezTo>
                      <a:pt x="1235" y="1344"/>
                      <a:pt x="1376" y="1532"/>
                      <a:pt x="1573" y="1603"/>
                    </a:cubicBezTo>
                    <a:moveTo>
                      <a:pt x="2951" y="2672"/>
                    </a:moveTo>
                    <a:cubicBezTo>
                      <a:pt x="3657" y="2672"/>
                      <a:pt x="3657" y="2672"/>
                      <a:pt x="3657" y="2672"/>
                    </a:cubicBezTo>
                    <a:cubicBezTo>
                      <a:pt x="3720" y="2672"/>
                      <a:pt x="3772" y="2621"/>
                      <a:pt x="3772" y="2557"/>
                    </a:cubicBezTo>
                    <a:cubicBezTo>
                      <a:pt x="3772" y="115"/>
                      <a:pt x="3772" y="115"/>
                      <a:pt x="3772" y="115"/>
                    </a:cubicBezTo>
                    <a:cubicBezTo>
                      <a:pt x="3772" y="51"/>
                      <a:pt x="3720" y="0"/>
                      <a:pt x="3657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51" y="0"/>
                      <a:pt x="0" y="51"/>
                      <a:pt x="0" y="115"/>
                    </a:cubicBezTo>
                    <a:cubicBezTo>
                      <a:pt x="0" y="2557"/>
                      <a:pt x="0" y="2557"/>
                      <a:pt x="0" y="2557"/>
                    </a:cubicBezTo>
                    <a:cubicBezTo>
                      <a:pt x="0" y="2621"/>
                      <a:pt x="51" y="2672"/>
                      <a:pt x="115" y="2672"/>
                    </a:cubicBezTo>
                    <a:cubicBezTo>
                      <a:pt x="1054" y="2672"/>
                      <a:pt x="1054" y="2672"/>
                      <a:pt x="1054" y="2672"/>
                    </a:cubicBezTo>
                  </a:path>
                </a:pathLst>
              </a:custGeom>
              <a:solidFill>
                <a:srgbClr val="FFFFFF"/>
              </a:solidFill>
              <a:ln w="25400" cap="sq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87857" tIns="43929" rIns="87857" bIns="43929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878548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65" b="0" i="0" u="none" strike="noStrike" kern="1200" cap="none" spc="0" normalizeH="0" baseline="0" noProof="0">
                  <a:ln>
                    <a:noFill/>
                  </a:ln>
                  <a:gradFill>
                    <a:gsLst>
                      <a:gs pos="0">
                        <a:srgbClr val="505050"/>
                      </a:gs>
                      <a:gs pos="100000">
                        <a:srgbClr val="505050"/>
                      </a:gs>
                    </a:gsLst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C08EE58E-ADAE-42B3-BD36-3953DCF3F266}"/>
              </a:ext>
            </a:extLst>
          </p:cNvPr>
          <p:cNvGrpSpPr/>
          <p:nvPr/>
        </p:nvGrpSpPr>
        <p:grpSpPr>
          <a:xfrm>
            <a:off x="8739685" y="1224653"/>
            <a:ext cx="2866312" cy="1572347"/>
            <a:chOff x="7810579" y="890868"/>
            <a:chExt cx="3576263" cy="1961798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00ADB612-35ED-49BC-B205-63435FBAE030}"/>
                </a:ext>
              </a:extLst>
            </p:cNvPr>
            <p:cNvSpPr txBox="1"/>
            <p:nvPr/>
          </p:nvSpPr>
          <p:spPr>
            <a:xfrm>
              <a:off x="8361573" y="1942319"/>
              <a:ext cx="2474273" cy="30104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36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 Semilight" panose="020B0402040204020203" pitchFamily="34" charset="0"/>
                </a:rPr>
                <a:t>Intune</a:t>
              </a:r>
            </a:p>
          </p:txBody>
        </p:sp>
        <p:sp>
          <p:nvSpPr>
            <p:cNvPr id="105" name="Freeform 13" title="Icon of a cloud">
              <a:extLst>
                <a:ext uri="{FF2B5EF4-FFF2-40B4-BE49-F238E27FC236}">
                  <a16:creationId xmlns:a16="http://schemas.microsoft.com/office/drawing/2014/main" id="{CABE7B7B-74F6-4CB2-8811-D33108F6E1D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810579" y="890868"/>
              <a:ext cx="3576263" cy="1961798"/>
            </a:xfrm>
            <a:custGeom>
              <a:avLst/>
              <a:gdLst>
                <a:gd name="T0" fmla="*/ 384 w 771"/>
                <a:gd name="T1" fmla="*/ 0 h 422"/>
                <a:gd name="T2" fmla="*/ 549 w 771"/>
                <a:gd name="T3" fmla="*/ 110 h 422"/>
                <a:gd name="T4" fmla="*/ 551 w 771"/>
                <a:gd name="T5" fmla="*/ 115 h 422"/>
                <a:gd name="T6" fmla="*/ 565 w 771"/>
                <a:gd name="T7" fmla="*/ 110 h 422"/>
                <a:gd name="T8" fmla="*/ 612 w 771"/>
                <a:gd name="T9" fmla="*/ 103 h 422"/>
                <a:gd name="T10" fmla="*/ 771 w 771"/>
                <a:gd name="T11" fmla="*/ 262 h 422"/>
                <a:gd name="T12" fmla="*/ 628 w 771"/>
                <a:gd name="T13" fmla="*/ 420 h 422"/>
                <a:gd name="T14" fmla="*/ 616 w 771"/>
                <a:gd name="T15" fmla="*/ 421 h 422"/>
                <a:gd name="T16" fmla="*/ 610 w 771"/>
                <a:gd name="T17" fmla="*/ 421 h 422"/>
                <a:gd name="T18" fmla="*/ 98 w 771"/>
                <a:gd name="T19" fmla="*/ 421 h 422"/>
                <a:gd name="T20" fmla="*/ 91 w 771"/>
                <a:gd name="T21" fmla="*/ 422 h 422"/>
                <a:gd name="T22" fmla="*/ 74 w 771"/>
                <a:gd name="T23" fmla="*/ 419 h 422"/>
                <a:gd name="T24" fmla="*/ 12 w 771"/>
                <a:gd name="T25" fmla="*/ 312 h 422"/>
                <a:gd name="T26" fmla="*/ 101 w 771"/>
                <a:gd name="T27" fmla="*/ 247 h 422"/>
                <a:gd name="T28" fmla="*/ 108 w 771"/>
                <a:gd name="T29" fmla="*/ 249 h 422"/>
                <a:gd name="T30" fmla="*/ 106 w 771"/>
                <a:gd name="T31" fmla="*/ 238 h 422"/>
                <a:gd name="T32" fmla="*/ 119 w 771"/>
                <a:gd name="T33" fmla="*/ 179 h 422"/>
                <a:gd name="T34" fmla="*/ 201 w 771"/>
                <a:gd name="T35" fmla="*/ 128 h 422"/>
                <a:gd name="T36" fmla="*/ 213 w 771"/>
                <a:gd name="T37" fmla="*/ 128 h 422"/>
                <a:gd name="T38" fmla="*/ 213 w 771"/>
                <a:gd name="T39" fmla="*/ 127 h 422"/>
                <a:gd name="T40" fmla="*/ 384 w 771"/>
                <a:gd name="T41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1" h="422">
                  <a:moveTo>
                    <a:pt x="384" y="0"/>
                  </a:moveTo>
                  <a:cubicBezTo>
                    <a:pt x="458" y="0"/>
                    <a:pt x="522" y="46"/>
                    <a:pt x="549" y="110"/>
                  </a:cubicBezTo>
                  <a:cubicBezTo>
                    <a:pt x="551" y="115"/>
                    <a:pt x="551" y="115"/>
                    <a:pt x="551" y="115"/>
                  </a:cubicBezTo>
                  <a:cubicBezTo>
                    <a:pt x="565" y="110"/>
                    <a:pt x="565" y="110"/>
                    <a:pt x="565" y="110"/>
                  </a:cubicBezTo>
                  <a:cubicBezTo>
                    <a:pt x="580" y="105"/>
                    <a:pt x="596" y="103"/>
                    <a:pt x="612" y="103"/>
                  </a:cubicBezTo>
                  <a:cubicBezTo>
                    <a:pt x="700" y="103"/>
                    <a:pt x="771" y="174"/>
                    <a:pt x="771" y="262"/>
                  </a:cubicBezTo>
                  <a:cubicBezTo>
                    <a:pt x="771" y="344"/>
                    <a:pt x="708" y="412"/>
                    <a:pt x="628" y="420"/>
                  </a:cubicBezTo>
                  <a:cubicBezTo>
                    <a:pt x="616" y="421"/>
                    <a:pt x="616" y="421"/>
                    <a:pt x="616" y="421"/>
                  </a:cubicBezTo>
                  <a:cubicBezTo>
                    <a:pt x="610" y="421"/>
                    <a:pt x="610" y="421"/>
                    <a:pt x="610" y="421"/>
                  </a:cubicBezTo>
                  <a:cubicBezTo>
                    <a:pt x="98" y="421"/>
                    <a:pt x="98" y="421"/>
                    <a:pt x="98" y="421"/>
                  </a:cubicBezTo>
                  <a:cubicBezTo>
                    <a:pt x="91" y="422"/>
                    <a:pt x="91" y="422"/>
                    <a:pt x="91" y="422"/>
                  </a:cubicBezTo>
                  <a:cubicBezTo>
                    <a:pt x="85" y="421"/>
                    <a:pt x="79" y="420"/>
                    <a:pt x="74" y="419"/>
                  </a:cubicBezTo>
                  <a:cubicBezTo>
                    <a:pt x="27" y="406"/>
                    <a:pt x="0" y="359"/>
                    <a:pt x="12" y="312"/>
                  </a:cubicBezTo>
                  <a:cubicBezTo>
                    <a:pt x="23" y="271"/>
                    <a:pt x="61" y="245"/>
                    <a:pt x="101" y="247"/>
                  </a:cubicBezTo>
                  <a:cubicBezTo>
                    <a:pt x="108" y="249"/>
                    <a:pt x="108" y="249"/>
                    <a:pt x="108" y="249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5" y="218"/>
                    <a:pt x="109" y="198"/>
                    <a:pt x="119" y="179"/>
                  </a:cubicBezTo>
                  <a:cubicBezTo>
                    <a:pt x="137" y="148"/>
                    <a:pt x="168" y="130"/>
                    <a:pt x="201" y="128"/>
                  </a:cubicBezTo>
                  <a:cubicBezTo>
                    <a:pt x="213" y="128"/>
                    <a:pt x="213" y="128"/>
                    <a:pt x="213" y="128"/>
                  </a:cubicBezTo>
                  <a:cubicBezTo>
                    <a:pt x="213" y="127"/>
                    <a:pt x="213" y="127"/>
                    <a:pt x="213" y="127"/>
                  </a:cubicBezTo>
                  <a:cubicBezTo>
                    <a:pt x="236" y="53"/>
                    <a:pt x="304" y="0"/>
                    <a:pt x="384" y="0"/>
                  </a:cubicBezTo>
                  <a:close/>
                </a:path>
              </a:pathLst>
            </a:custGeom>
            <a:noFill/>
            <a:ln w="25400" cap="sq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7857" tIns="43929" rIns="87857" bIns="4392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78548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CB3D10D8-6830-4DA2-80F1-6B5346459AA3}"/>
              </a:ext>
            </a:extLst>
          </p:cNvPr>
          <p:cNvGrpSpPr/>
          <p:nvPr/>
        </p:nvGrpSpPr>
        <p:grpSpPr>
          <a:xfrm>
            <a:off x="3585722" y="1224653"/>
            <a:ext cx="2866312" cy="1572347"/>
            <a:chOff x="7810579" y="890868"/>
            <a:chExt cx="3576263" cy="1961798"/>
          </a:xfrm>
        </p:grpSpPr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E0959799-2725-494E-BDE3-BE007D883BD7}"/>
                </a:ext>
              </a:extLst>
            </p:cNvPr>
            <p:cNvSpPr txBox="1"/>
            <p:nvPr/>
          </p:nvSpPr>
          <p:spPr>
            <a:xfrm>
              <a:off x="8361573" y="1942319"/>
              <a:ext cx="2474273" cy="30104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36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58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Segoe UI Semilight" panose="020B0402040204020203" pitchFamily="34" charset="0"/>
                </a:rPr>
                <a:t>Windows Autopilot</a:t>
              </a:r>
            </a:p>
          </p:txBody>
        </p:sp>
        <p:sp>
          <p:nvSpPr>
            <p:cNvPr id="108" name="Freeform 13" title="Icon of a cloud">
              <a:extLst>
                <a:ext uri="{FF2B5EF4-FFF2-40B4-BE49-F238E27FC236}">
                  <a16:creationId xmlns:a16="http://schemas.microsoft.com/office/drawing/2014/main" id="{7F2A35CA-9B15-4578-8564-4C637E216A1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810579" y="890868"/>
              <a:ext cx="3576263" cy="1961798"/>
            </a:xfrm>
            <a:custGeom>
              <a:avLst/>
              <a:gdLst>
                <a:gd name="T0" fmla="*/ 384 w 771"/>
                <a:gd name="T1" fmla="*/ 0 h 422"/>
                <a:gd name="T2" fmla="*/ 549 w 771"/>
                <a:gd name="T3" fmla="*/ 110 h 422"/>
                <a:gd name="T4" fmla="*/ 551 w 771"/>
                <a:gd name="T5" fmla="*/ 115 h 422"/>
                <a:gd name="T6" fmla="*/ 565 w 771"/>
                <a:gd name="T7" fmla="*/ 110 h 422"/>
                <a:gd name="T8" fmla="*/ 612 w 771"/>
                <a:gd name="T9" fmla="*/ 103 h 422"/>
                <a:gd name="T10" fmla="*/ 771 w 771"/>
                <a:gd name="T11" fmla="*/ 262 h 422"/>
                <a:gd name="T12" fmla="*/ 628 w 771"/>
                <a:gd name="T13" fmla="*/ 420 h 422"/>
                <a:gd name="T14" fmla="*/ 616 w 771"/>
                <a:gd name="T15" fmla="*/ 421 h 422"/>
                <a:gd name="T16" fmla="*/ 610 w 771"/>
                <a:gd name="T17" fmla="*/ 421 h 422"/>
                <a:gd name="T18" fmla="*/ 98 w 771"/>
                <a:gd name="T19" fmla="*/ 421 h 422"/>
                <a:gd name="T20" fmla="*/ 91 w 771"/>
                <a:gd name="T21" fmla="*/ 422 h 422"/>
                <a:gd name="T22" fmla="*/ 74 w 771"/>
                <a:gd name="T23" fmla="*/ 419 h 422"/>
                <a:gd name="T24" fmla="*/ 12 w 771"/>
                <a:gd name="T25" fmla="*/ 312 h 422"/>
                <a:gd name="T26" fmla="*/ 101 w 771"/>
                <a:gd name="T27" fmla="*/ 247 h 422"/>
                <a:gd name="T28" fmla="*/ 108 w 771"/>
                <a:gd name="T29" fmla="*/ 249 h 422"/>
                <a:gd name="T30" fmla="*/ 106 w 771"/>
                <a:gd name="T31" fmla="*/ 238 h 422"/>
                <a:gd name="T32" fmla="*/ 119 w 771"/>
                <a:gd name="T33" fmla="*/ 179 h 422"/>
                <a:gd name="T34" fmla="*/ 201 w 771"/>
                <a:gd name="T35" fmla="*/ 128 h 422"/>
                <a:gd name="T36" fmla="*/ 213 w 771"/>
                <a:gd name="T37" fmla="*/ 128 h 422"/>
                <a:gd name="T38" fmla="*/ 213 w 771"/>
                <a:gd name="T39" fmla="*/ 127 h 422"/>
                <a:gd name="T40" fmla="*/ 384 w 771"/>
                <a:gd name="T41" fmla="*/ 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1" h="422">
                  <a:moveTo>
                    <a:pt x="384" y="0"/>
                  </a:moveTo>
                  <a:cubicBezTo>
                    <a:pt x="458" y="0"/>
                    <a:pt x="522" y="46"/>
                    <a:pt x="549" y="110"/>
                  </a:cubicBezTo>
                  <a:cubicBezTo>
                    <a:pt x="551" y="115"/>
                    <a:pt x="551" y="115"/>
                    <a:pt x="551" y="115"/>
                  </a:cubicBezTo>
                  <a:cubicBezTo>
                    <a:pt x="565" y="110"/>
                    <a:pt x="565" y="110"/>
                    <a:pt x="565" y="110"/>
                  </a:cubicBezTo>
                  <a:cubicBezTo>
                    <a:pt x="580" y="105"/>
                    <a:pt x="596" y="103"/>
                    <a:pt x="612" y="103"/>
                  </a:cubicBezTo>
                  <a:cubicBezTo>
                    <a:pt x="700" y="103"/>
                    <a:pt x="771" y="174"/>
                    <a:pt x="771" y="262"/>
                  </a:cubicBezTo>
                  <a:cubicBezTo>
                    <a:pt x="771" y="344"/>
                    <a:pt x="708" y="412"/>
                    <a:pt x="628" y="420"/>
                  </a:cubicBezTo>
                  <a:cubicBezTo>
                    <a:pt x="616" y="421"/>
                    <a:pt x="616" y="421"/>
                    <a:pt x="616" y="421"/>
                  </a:cubicBezTo>
                  <a:cubicBezTo>
                    <a:pt x="610" y="421"/>
                    <a:pt x="610" y="421"/>
                    <a:pt x="610" y="421"/>
                  </a:cubicBezTo>
                  <a:cubicBezTo>
                    <a:pt x="98" y="421"/>
                    <a:pt x="98" y="421"/>
                    <a:pt x="98" y="421"/>
                  </a:cubicBezTo>
                  <a:cubicBezTo>
                    <a:pt x="91" y="422"/>
                    <a:pt x="91" y="422"/>
                    <a:pt x="91" y="422"/>
                  </a:cubicBezTo>
                  <a:cubicBezTo>
                    <a:pt x="85" y="421"/>
                    <a:pt x="79" y="420"/>
                    <a:pt x="74" y="419"/>
                  </a:cubicBezTo>
                  <a:cubicBezTo>
                    <a:pt x="27" y="406"/>
                    <a:pt x="0" y="359"/>
                    <a:pt x="12" y="312"/>
                  </a:cubicBezTo>
                  <a:cubicBezTo>
                    <a:pt x="23" y="271"/>
                    <a:pt x="61" y="245"/>
                    <a:pt x="101" y="247"/>
                  </a:cubicBezTo>
                  <a:cubicBezTo>
                    <a:pt x="108" y="249"/>
                    <a:pt x="108" y="249"/>
                    <a:pt x="108" y="249"/>
                  </a:cubicBezTo>
                  <a:cubicBezTo>
                    <a:pt x="106" y="238"/>
                    <a:pt x="106" y="238"/>
                    <a:pt x="106" y="238"/>
                  </a:cubicBezTo>
                  <a:cubicBezTo>
                    <a:pt x="105" y="218"/>
                    <a:pt x="109" y="198"/>
                    <a:pt x="119" y="179"/>
                  </a:cubicBezTo>
                  <a:cubicBezTo>
                    <a:pt x="137" y="148"/>
                    <a:pt x="168" y="130"/>
                    <a:pt x="201" y="128"/>
                  </a:cubicBezTo>
                  <a:cubicBezTo>
                    <a:pt x="213" y="128"/>
                    <a:pt x="213" y="128"/>
                    <a:pt x="213" y="128"/>
                  </a:cubicBezTo>
                  <a:cubicBezTo>
                    <a:pt x="213" y="127"/>
                    <a:pt x="213" y="127"/>
                    <a:pt x="213" y="127"/>
                  </a:cubicBezTo>
                  <a:cubicBezTo>
                    <a:pt x="236" y="53"/>
                    <a:pt x="304" y="0"/>
                    <a:pt x="384" y="0"/>
                  </a:cubicBezTo>
                  <a:close/>
                </a:path>
              </a:pathLst>
            </a:custGeom>
            <a:noFill/>
            <a:ln w="25400" cap="sq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87857" tIns="43929" rIns="87857" bIns="4392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878548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3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</a:gra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B5DB3803-D9D8-4E32-94A3-081F4C3E912B}"/>
              </a:ext>
            </a:extLst>
          </p:cNvPr>
          <p:cNvGrpSpPr/>
          <p:nvPr/>
        </p:nvGrpSpPr>
        <p:grpSpPr>
          <a:xfrm rot="16200000">
            <a:off x="7549321" y="1658844"/>
            <a:ext cx="220593" cy="1873281"/>
            <a:chOff x="10195634" y="2660453"/>
            <a:chExt cx="225016" cy="1910844"/>
          </a:xfrm>
        </p:grpSpPr>
        <p:cxnSp>
          <p:nvCxnSpPr>
            <p:cNvPr id="110" name="Straight Arrow Connector 109">
              <a:extLst>
                <a:ext uri="{FF2B5EF4-FFF2-40B4-BE49-F238E27FC236}">
                  <a16:creationId xmlns:a16="http://schemas.microsoft.com/office/drawing/2014/main" id="{8D3BCF8C-02A1-4DA4-B88D-480D2B8B589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195634" y="2660453"/>
              <a:ext cx="0" cy="1910844"/>
            </a:xfrm>
            <a:prstGeom prst="straightConnector1">
              <a:avLst/>
            </a:prstGeom>
            <a:ln w="38100" cap="rnd">
              <a:solidFill>
                <a:schemeClr val="accent1"/>
              </a:solidFill>
              <a:headEnd type="triangle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3C55F3BA-9D32-4D10-A40C-11D1B672E662}"/>
                </a:ext>
              </a:extLst>
            </p:cNvPr>
            <p:cNvSpPr txBox="1"/>
            <p:nvPr/>
          </p:nvSpPr>
          <p:spPr>
            <a:xfrm rot="5400000">
              <a:off x="9828883" y="3538931"/>
              <a:ext cx="1029645" cy="153888"/>
            </a:xfrm>
            <a:prstGeom prst="rect">
              <a:avLst/>
            </a:prstGeom>
            <a:noFill/>
            <a:ln w="38100" cap="rnd">
              <a:noFill/>
            </a:ln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ctr" defTabSz="9136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/>
                  <a:ea typeface="+mn-ea"/>
                  <a:cs typeface="Segoe UI Semilight" panose="020B0402040204020203" pitchFamily="34" charset="0"/>
                </a:rPr>
                <a:t>Device sync</a:t>
              </a: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7B844FF2-3287-481A-851B-849B60281D4D}"/>
              </a:ext>
            </a:extLst>
          </p:cNvPr>
          <p:cNvGrpSpPr/>
          <p:nvPr/>
        </p:nvGrpSpPr>
        <p:grpSpPr>
          <a:xfrm rot="16200000">
            <a:off x="7549349" y="1251448"/>
            <a:ext cx="220540" cy="1873281"/>
            <a:chOff x="10195634" y="2660453"/>
            <a:chExt cx="224963" cy="1910844"/>
          </a:xfrm>
        </p:grpSpPr>
        <p:cxnSp>
          <p:nvCxnSpPr>
            <p:cNvPr id="113" name="Straight Arrow Connector 112">
              <a:extLst>
                <a:ext uri="{FF2B5EF4-FFF2-40B4-BE49-F238E27FC236}">
                  <a16:creationId xmlns:a16="http://schemas.microsoft.com/office/drawing/2014/main" id="{8A3B5C72-97AA-4139-9B69-DFDE28D8F1D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195634" y="2660453"/>
              <a:ext cx="0" cy="1910844"/>
            </a:xfrm>
            <a:prstGeom prst="straightConnector1">
              <a:avLst/>
            </a:prstGeom>
            <a:ln w="38100" cap="rnd">
              <a:solidFill>
                <a:schemeClr val="accent1"/>
              </a:solidFill>
              <a:headEnd type="triangle"/>
              <a:tailEnd type="triangl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FAB5AB77-40FF-4746-9714-B6C27F1A5CED}"/>
                </a:ext>
              </a:extLst>
            </p:cNvPr>
            <p:cNvSpPr txBox="1"/>
            <p:nvPr/>
          </p:nvSpPr>
          <p:spPr>
            <a:xfrm rot="5400000">
              <a:off x="9590359" y="3548157"/>
              <a:ext cx="1506642" cy="153835"/>
            </a:xfrm>
            <a:prstGeom prst="rect">
              <a:avLst/>
            </a:prstGeom>
            <a:noFill/>
            <a:ln w="38100" cap="rnd">
              <a:noFill/>
            </a:ln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ctr" defTabSz="9136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80" b="0" i="0" u="none" strike="noStrike" kern="0" cap="none" spc="0" normalizeH="0" baseline="0" noProof="0">
                  <a:ln>
                    <a:noFill/>
                  </a:ln>
                  <a:solidFill>
                    <a:srgbClr val="0078D7"/>
                  </a:solidFill>
                  <a:effectLst/>
                  <a:uLnTx/>
                  <a:uFillTx/>
                  <a:latin typeface="Segoe UI"/>
                  <a:ea typeface="+mn-ea"/>
                  <a:cs typeface="Segoe UI Semilight" panose="020B0402040204020203" pitchFamily="34" charset="0"/>
                </a:rPr>
                <a:t>Autopilot profile syn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1798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Windows Autopilot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Windows 10 Deployment with Windows Autopilo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194" name="Picture 2" descr="Image result for autopilot contoso">
            <a:extLst>
              <a:ext uri="{FF2B5EF4-FFF2-40B4-BE49-F238E27FC236}">
                <a16:creationId xmlns:a16="http://schemas.microsoft.com/office/drawing/2014/main" id="{2C841345-84BD-4BF2-8134-D4791614FA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9816" y="1722667"/>
            <a:ext cx="6088588" cy="3851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8" name="Picture 6" descr="Image result for autopilot contoso welcome">
            <a:extLst>
              <a:ext uri="{FF2B5EF4-FFF2-40B4-BE49-F238E27FC236}">
                <a16:creationId xmlns:a16="http://schemas.microsoft.com/office/drawing/2014/main" id="{0A318547-ADA2-4E26-AC75-31FE23122B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67" y="1722668"/>
            <a:ext cx="5155211" cy="3851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Image result for windows">
            <a:extLst>
              <a:ext uri="{FF2B5EF4-FFF2-40B4-BE49-F238E27FC236}">
                <a16:creationId xmlns:a16="http://schemas.microsoft.com/office/drawing/2014/main" id="{EA60C7A3-0731-4350-A5A5-B250AFEB57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4414" y="100145"/>
            <a:ext cx="1197586" cy="1197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29983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Licens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censing options for Intun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5" y="1560868"/>
            <a:ext cx="11079040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E" sz="2400" dirty="0">
                <a:solidFill>
                  <a:prstClr val="black"/>
                </a:solidFill>
                <a:latin typeface="Calibri" panose="020F0502020204030204"/>
              </a:rPr>
              <a:t>Microsoft Intune (Standalone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E" sz="2400" dirty="0">
                <a:solidFill>
                  <a:prstClr val="black"/>
                </a:solidFill>
                <a:latin typeface="Calibri" panose="020F0502020204030204"/>
              </a:rPr>
              <a:t>Microsoft Intune Devi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E" sz="2400" dirty="0">
                <a:solidFill>
                  <a:prstClr val="black"/>
                </a:solidFill>
                <a:latin typeface="Calibri" panose="020F0502020204030204"/>
              </a:rPr>
              <a:t>Enterprise Mobility &amp; Security E3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prstClr val="black"/>
                </a:solidFill>
              </a:rPr>
              <a:t>Enterprise Mobility &amp; Security E5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prstClr val="black"/>
                </a:solidFill>
              </a:rPr>
              <a:t>Microsoft 365 Business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prstClr val="black"/>
                </a:solidFill>
              </a:rPr>
              <a:t>Microsoft 365 F1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prstClr val="black"/>
                </a:solidFill>
              </a:rPr>
              <a:t>Microsoft 365 E3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prstClr val="black"/>
                </a:solidFill>
              </a:rPr>
              <a:t>Microsoft 365 E5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prstClr val="black"/>
                </a:solidFill>
              </a:rPr>
              <a:t>Microsoft 365 A1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prstClr val="black"/>
                </a:solidFill>
              </a:rPr>
              <a:t>Microsoft 365 A3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prstClr val="black"/>
                </a:solidFill>
              </a:rPr>
              <a:t>Microsoft 365 A5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IE" sz="2400" dirty="0">
              <a:solidFill>
                <a:prstClr val="black"/>
              </a:solidFill>
            </a:endParaRPr>
          </a:p>
          <a:p>
            <a:pPr defTabSz="914400"/>
            <a:r>
              <a:rPr lang="en-GB" sz="2400" dirty="0">
                <a:hlinkClick r:id="rId2"/>
              </a:rPr>
              <a:t>https://docs.microsoft.com/en-ie/intune/licenses</a:t>
            </a:r>
            <a:endParaRPr lang="en-IE" sz="2400" dirty="0">
              <a:solidFill>
                <a:prstClr val="black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IE" sz="2400" dirty="0">
              <a:solidFill>
                <a:prstClr val="black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IE" sz="2400" dirty="0">
              <a:solidFill>
                <a:prstClr val="black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IE" sz="24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IE" sz="2400" dirty="0">
              <a:solidFill>
                <a:prstClr val="black"/>
              </a:solidFill>
              <a:latin typeface="Calibri" panose="020F050202020403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501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dirty="0">
                <a:solidFill>
                  <a:prstClr val="black"/>
                </a:solidFill>
                <a:latin typeface="Myriad Pro"/>
              </a:rPr>
              <a:t>MDM Competitors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ternatives to Intun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5" y="1560868"/>
            <a:ext cx="1107904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E" sz="2400" dirty="0">
                <a:solidFill>
                  <a:prstClr val="black"/>
                </a:solidFill>
                <a:latin typeface="Calibri" panose="020F0502020204030204"/>
              </a:rPr>
              <a:t>MobileIr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IE" sz="2400" dirty="0" err="1">
                <a:solidFill>
                  <a:prstClr val="black"/>
                </a:solidFill>
                <a:latin typeface="Calibri" panose="020F0502020204030204"/>
              </a:rPr>
              <a:t>AirWatch</a:t>
            </a:r>
            <a:r>
              <a:rPr lang="en-IE" sz="2400" dirty="0">
                <a:solidFill>
                  <a:prstClr val="black"/>
                </a:solidFill>
                <a:latin typeface="Calibri" panose="020F0502020204030204"/>
              </a:rPr>
              <a:t> (VMware)</a:t>
            </a:r>
          </a:p>
          <a:p>
            <a:pPr marL="285750" lvl="0" indent="-285750" defTabSz="91440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prstClr val="black"/>
                </a:solidFill>
              </a:rPr>
              <a:t>MaaS360 (IBM)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en-IE" sz="2400" dirty="0">
                <a:solidFill>
                  <a:prstClr val="black"/>
                </a:solidFill>
              </a:rPr>
              <a:t>XenMobile (Citrix)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IE" sz="2400" dirty="0">
              <a:solidFill>
                <a:prstClr val="black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IE" sz="2400" dirty="0">
              <a:solidFill>
                <a:prstClr val="black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IE" sz="2400" dirty="0">
              <a:solidFill>
                <a:prstClr val="black"/>
              </a:solidFill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endParaRPr lang="en-IE" sz="240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IE" sz="2400" dirty="0">
              <a:solidFill>
                <a:prstClr val="black"/>
              </a:solidFill>
              <a:latin typeface="Calibri" panose="020F050202020403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05439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Technical Training 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/>
            <a:r>
              <a:rPr lang="en-IE" sz="2400">
                <a:solidFill>
                  <a:srgbClr val="3AC900"/>
                </a:solidFill>
                <a:latin typeface="Myriad Pro"/>
              </a:rPr>
              <a:t>https://www.mwh.ie/learn/</a:t>
            </a: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srgbClr val="3AC900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49EEB35A-6CB5-4CBC-A903-85B602AD20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9594" y="1460166"/>
            <a:ext cx="8067864" cy="4855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0704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DEFB1A0-8488-4EF1-A426-F69598DE1219}"/>
              </a:ext>
            </a:extLst>
          </p:cNvPr>
          <p:cNvSpPr txBox="1"/>
          <p:nvPr/>
        </p:nvSpPr>
        <p:spPr>
          <a:xfrm>
            <a:off x="369554" y="2271284"/>
            <a:ext cx="112282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800" dirty="0">
                <a:solidFill>
                  <a:schemeClr val="accent5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										Q and A</a:t>
            </a:r>
            <a:endParaRPr lang="en-US" sz="4800" dirty="0">
              <a:solidFill>
                <a:schemeClr val="accent5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251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A Basic Overview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57775BF-E8FA-4767-B6B3-DD4409B7CF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265" y="1366401"/>
            <a:ext cx="11687175" cy="498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3330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A Basic Overview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2AB331A-08F2-4496-A92B-AC39FEEB2E91}"/>
              </a:ext>
            </a:extLst>
          </p:cNvPr>
          <p:cNvSpPr txBox="1"/>
          <p:nvPr/>
        </p:nvSpPr>
        <p:spPr>
          <a:xfrm>
            <a:off x="733097" y="1166648"/>
            <a:ext cx="10515600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ee elements: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C Management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bile Device Management (MDM)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bile Application Management (MAM) </a:t>
            </a:r>
          </a:p>
          <a:p>
            <a:pPr marL="457200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Mobile” does not mean mobile phone.  It means “portable”</a:t>
            </a:r>
          </a:p>
          <a:p>
            <a:pPr marL="514350" marR="0" lvl="0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514350" marR="0" lvl="0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 devices and applications on the following platforms: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ndows 8.1 and Windows 10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OS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roid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cOS</a:t>
            </a:r>
          </a:p>
          <a:p>
            <a:pPr marL="457200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514350" marR="0" lvl="0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ment of Windows 7 devices is </a:t>
            </a:r>
            <a:r>
              <a:rPr kumimoji="0" lang="en-IE" sz="2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ly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rough the classic (Silverlight</a:t>
            </a:r>
            <a:r>
              <a:rPr kumimoji="0" lang="en-I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 Intune 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al.  This is now deprecated by Microsoft</a:t>
            </a:r>
          </a:p>
        </p:txBody>
      </p:sp>
    </p:spTree>
    <p:extLst>
      <p:ext uri="{BB962C8B-B14F-4D97-AF65-F5344CB8AC3E}">
        <p14:creationId xmlns:p14="http://schemas.microsoft.com/office/powerpoint/2010/main" val="42247758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Lifecycle Manageme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425695A-30A8-49DA-A9CF-C010BEAC00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4835" y="1279243"/>
            <a:ext cx="11630025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3503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Common Us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2AB331A-08F2-4496-A92B-AC39FEEB2E91}"/>
              </a:ext>
            </a:extLst>
          </p:cNvPr>
          <p:cNvSpPr txBox="1"/>
          <p:nvPr/>
        </p:nvSpPr>
        <p:spPr>
          <a:xfrm>
            <a:off x="838200" y="1330036"/>
            <a:ext cx="1071489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forcing security settings on devices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swords, encryption etc.</a:t>
            </a:r>
          </a:p>
          <a:p>
            <a:pPr marL="457200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514350" marR="0" lvl="0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suring compliance of devices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e devices still encrypted, password protected, checking in regularly…..</a:t>
            </a:r>
          </a:p>
          <a:p>
            <a:pPr marL="457200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514350" marR="0" lvl="0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loying new applications to devices</a:t>
            </a:r>
          </a:p>
          <a:p>
            <a:pPr marL="514350" marR="0" lvl="0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514350" marR="0" lvl="0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uring data within applications on devices</a:t>
            </a:r>
          </a:p>
        </p:txBody>
      </p:sp>
    </p:spTree>
    <p:extLst>
      <p:ext uri="{BB962C8B-B14F-4D97-AF65-F5344CB8AC3E}">
        <p14:creationId xmlns:p14="http://schemas.microsoft.com/office/powerpoint/2010/main" val="24993405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Best Practic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C2AB331A-08F2-4496-A92B-AC39FEEB2E91}"/>
              </a:ext>
            </a:extLst>
          </p:cNvPr>
          <p:cNvSpPr txBox="1"/>
          <p:nvPr/>
        </p:nvSpPr>
        <p:spPr>
          <a:xfrm>
            <a:off x="838200" y="1330036"/>
            <a:ext cx="10714892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ould be sold as a managed service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 a once off deployment project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ould be managed and monitored continuously for compliance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is how you justify the ongoing monthly license fee to the customer and explain the implications if they want to remove it</a:t>
            </a:r>
          </a:p>
          <a:p>
            <a:pPr marL="457200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514350" marR="0" lvl="0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t simple and build it out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lex deployments will upset customers if they are accidently blocked</a:t>
            </a:r>
          </a:p>
          <a:p>
            <a:pPr marL="457200" marR="0" lvl="1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514350" marR="0" lvl="0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 the product internally in your organisation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is the best way to learn</a:t>
            </a:r>
          </a:p>
          <a:p>
            <a:pPr marL="971550" marR="0" lvl="1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may have internal usage rights for EM+S</a:t>
            </a:r>
          </a:p>
          <a:p>
            <a:pPr marL="514350" marR="0" lvl="0" indent="-51435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77043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Basic Overview of Mobile Device Manageme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EE54F34B-7230-4100-8D85-550E7DB8D0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3600" y="1938204"/>
            <a:ext cx="6096001" cy="282159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5" y="1560868"/>
            <a:ext cx="501161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d through same portal as Azu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ice Management Consists of: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ice Configuration Profil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ice Compliance Polic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th need to be assigned to users or devices before they take effec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F29EDF-1271-4777-B519-CA63D0BE26D9}"/>
              </a:ext>
            </a:extLst>
          </p:cNvPr>
          <p:cNvSpPr txBox="1"/>
          <p:nvPr/>
        </p:nvSpPr>
        <p:spPr>
          <a:xfrm>
            <a:off x="909263" y="5298987"/>
            <a:ext cx="1006867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une </a:t>
            </a: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eds to be set as the MDM Authority not O365 MD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Check at </a:t>
            </a:r>
            <a:r>
              <a:rPr kumimoji="0" lang="en-IE" sz="2400" b="0" i="0" u="sng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admin.microsoft.com/EAdmin/Device/IntuneInventory.aspx</a:t>
            </a:r>
          </a:p>
        </p:txBody>
      </p:sp>
    </p:spTree>
    <p:extLst>
      <p:ext uri="{BB962C8B-B14F-4D97-AF65-F5344CB8AC3E}">
        <p14:creationId xmlns:p14="http://schemas.microsoft.com/office/powerpoint/2010/main" val="821597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8D7890-5FB5-4B98-81E6-7C0311DB624B}"/>
              </a:ext>
            </a:extLst>
          </p:cNvPr>
          <p:cNvSpPr txBox="1">
            <a:spLocks/>
          </p:cNvSpPr>
          <p:nvPr/>
        </p:nvSpPr>
        <p:spPr>
          <a:xfrm>
            <a:off x="838200" y="288288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2FFCF97-DD87-470B-B6AD-117D3BEC68A0}"/>
              </a:ext>
            </a:extLst>
          </p:cNvPr>
          <p:cNvSpPr txBox="1">
            <a:spLocks/>
          </p:cNvSpPr>
          <p:nvPr/>
        </p:nvSpPr>
        <p:spPr>
          <a:xfrm>
            <a:off x="838200" y="798945"/>
            <a:ext cx="10515600" cy="6000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501B21F-DA5D-471A-BA2D-A8C3A0600035}"/>
              </a:ext>
            </a:extLst>
          </p:cNvPr>
          <p:cNvCxnSpPr/>
          <p:nvPr/>
        </p:nvCxnSpPr>
        <p:spPr>
          <a:xfrm>
            <a:off x="364835" y="6470368"/>
            <a:ext cx="1149003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871EA2F7-DF54-456D-9D39-23638E106D47}"/>
              </a:ext>
            </a:extLst>
          </p:cNvPr>
          <p:cNvSpPr txBox="1"/>
          <p:nvPr/>
        </p:nvSpPr>
        <p:spPr>
          <a:xfrm>
            <a:off x="838200" y="168166"/>
            <a:ext cx="10515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Microsoft Intune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05D5F6-65AA-46E3-99CE-B03329173CE9}"/>
              </a:ext>
            </a:extLst>
          </p:cNvPr>
          <p:cNvSpPr txBox="1"/>
          <p:nvPr/>
        </p:nvSpPr>
        <p:spPr>
          <a:xfrm>
            <a:off x="838200" y="782343"/>
            <a:ext cx="1051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srgbClr val="3AC900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Device Enrolme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81EDBB-B0B6-4CF9-AE80-451E327FE93D}"/>
              </a:ext>
            </a:extLst>
          </p:cNvPr>
          <p:cNvCxnSpPr>
            <a:cxnSpLocks/>
          </p:cNvCxnSpPr>
          <p:nvPr/>
        </p:nvCxnSpPr>
        <p:spPr>
          <a:xfrm>
            <a:off x="733097" y="231228"/>
            <a:ext cx="0" cy="935420"/>
          </a:xfrm>
          <a:prstGeom prst="line">
            <a:avLst/>
          </a:prstGeom>
          <a:ln w="34925">
            <a:solidFill>
              <a:srgbClr val="2727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834A45E-BA62-48A1-8B7C-E3B851981F80}"/>
              </a:ext>
            </a:extLst>
          </p:cNvPr>
          <p:cNvSpPr txBox="1"/>
          <p:nvPr/>
        </p:nvSpPr>
        <p:spPr>
          <a:xfrm>
            <a:off x="931985" y="1560868"/>
            <a:ext cx="102870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ganisation specific settings need to be configured for the platform of the devices to be enrolled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OS devices need an Apple MDM Push certificate assign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roid devices can be linked to a Managed Google Play accou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I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ndows 10 devices can be associated with Windows Store</a:t>
            </a:r>
          </a:p>
        </p:txBody>
      </p:sp>
    </p:spTree>
    <p:extLst>
      <p:ext uri="{BB962C8B-B14F-4D97-AF65-F5344CB8AC3E}">
        <p14:creationId xmlns:p14="http://schemas.microsoft.com/office/powerpoint/2010/main" val="10017486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RP deck">
  <a:themeElements>
    <a:clrScheme name="Custom 10">
      <a:dk1>
        <a:srgbClr val="2C292A"/>
      </a:dk1>
      <a:lt1>
        <a:srgbClr val="F1EFED"/>
      </a:lt1>
      <a:dk2>
        <a:srgbClr val="2C292A"/>
      </a:dk2>
      <a:lt2>
        <a:srgbClr val="FFFFFF"/>
      </a:lt2>
      <a:accent1>
        <a:srgbClr val="D83B01"/>
      </a:accent1>
      <a:accent2>
        <a:srgbClr val="FFC000"/>
      </a:accent2>
      <a:accent3>
        <a:srgbClr val="0078D7"/>
      </a:accent3>
      <a:accent4>
        <a:srgbClr val="2C292A"/>
      </a:accent4>
      <a:accent5>
        <a:srgbClr val="5A5456"/>
      </a:accent5>
      <a:accent6>
        <a:srgbClr val="B2ADAE"/>
      </a:accent6>
      <a:hlink>
        <a:srgbClr val="ED6722"/>
      </a:hlink>
      <a:folHlink>
        <a:srgbClr val="ED672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P deck" id="{8B0D75E4-C5B7-4389-969B-E32F34D7849E}" vid="{C87FA158-8DC0-415A-A00F-F646715921CE}"/>
    </a:ext>
  </a:extLst>
</a:theme>
</file>

<file path=ppt/theme/theme10.xml><?xml version="1.0" encoding="utf-8"?>
<a:theme xmlns:a="http://schemas.openxmlformats.org/drawingml/2006/main" name="Microsoft 365 PPT Template - 2018">
  <a:themeElements>
    <a:clrScheme name="Microsoft 365">
      <a:dk1>
        <a:srgbClr val="282828"/>
      </a:dk1>
      <a:lt1>
        <a:srgbClr val="FFFFFF"/>
      </a:lt1>
      <a:dk2>
        <a:srgbClr val="282828"/>
      </a:dk2>
      <a:lt2>
        <a:srgbClr val="FFFFFF"/>
      </a:lt2>
      <a:accent1>
        <a:srgbClr val="0078D7"/>
      </a:accent1>
      <a:accent2>
        <a:srgbClr val="002050"/>
      </a:accent2>
      <a:accent3>
        <a:srgbClr val="939393"/>
      </a:accent3>
      <a:accent4>
        <a:srgbClr val="00BCF2"/>
      </a:accent4>
      <a:accent5>
        <a:srgbClr val="6C6E6C"/>
      </a:accent5>
      <a:accent6>
        <a:srgbClr val="2E2F2E"/>
      </a:accent6>
      <a:hlink>
        <a:srgbClr val="0078D7"/>
      </a:hlink>
      <a:folHlink>
        <a:srgbClr val="0078D7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C007BA7-B7F9-4643-AF15-75FFAC16AF80}" vid="{88E5DF51-71EE-4525-940F-8DF45F283AF0}"/>
    </a:ext>
  </a:extLst>
</a:theme>
</file>

<file path=ppt/theme/theme1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Font typeface="Arial" panose="020B0604020202020204" pitchFamily="34" charset="0"/>
          <a:buChar char="•"/>
          <a:defRPr sz="3200" dirty="0" smtClean="0">
            <a:latin typeface="Myriad Pro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5" id="{32F3EDCA-1860-4E30-B161-7267523C0B0C}" vid="{B59ABE37-3136-4B00-A22D-64C1AF957FBE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Wv2 Aug 2016">
  <a:themeElements>
    <a:clrScheme name="OfficeSecurity">
      <a:dk1>
        <a:srgbClr val="2C292A"/>
      </a:dk1>
      <a:lt1>
        <a:srgbClr val="F1EFED"/>
      </a:lt1>
      <a:dk2>
        <a:srgbClr val="2C292A"/>
      </a:dk2>
      <a:lt2>
        <a:srgbClr val="FFFFFF"/>
      </a:lt2>
      <a:accent1>
        <a:srgbClr val="D83B01"/>
      </a:accent1>
      <a:accent2>
        <a:srgbClr val="FFC000"/>
      </a:accent2>
      <a:accent3>
        <a:srgbClr val="0078D7"/>
      </a:accent3>
      <a:accent4>
        <a:srgbClr val="2C292A"/>
      </a:accent4>
      <a:accent5>
        <a:srgbClr val="5A5456"/>
      </a:accent5>
      <a:accent6>
        <a:srgbClr val="B2ADAE"/>
      </a:accent6>
      <a:hlink>
        <a:srgbClr val="D83B01"/>
      </a:hlink>
      <a:folHlink>
        <a:srgbClr val="D83B01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Wv2 Aug 2016" id="{E1758B5C-2481-4B6C-82CD-4980BE9082A5}" vid="{1536F915-9CDC-47D5-88AA-2B23F8AE9FE3}"/>
    </a:ext>
  </a:extLst>
</a:theme>
</file>

<file path=ppt/theme/theme3.xml><?xml version="1.0" encoding="utf-8"?>
<a:theme xmlns:a="http://schemas.openxmlformats.org/drawingml/2006/main" name="1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4.xml><?xml version="1.0" encoding="utf-8"?>
<a:theme xmlns:a="http://schemas.openxmlformats.org/drawingml/2006/main" name="3_5-50203_Microsoft_Ignite_Template">
  <a:themeElements>
    <a:clrScheme name="Microsoft Ignite">
      <a:dk1>
        <a:srgbClr val="1A1A1A"/>
      </a:dk1>
      <a:lt1>
        <a:srgbClr val="FFFFFF"/>
      </a:lt1>
      <a:dk2>
        <a:srgbClr val="0D0D0D"/>
      </a:dk2>
      <a:lt2>
        <a:srgbClr val="E6E6E6"/>
      </a:lt2>
      <a:accent1>
        <a:srgbClr val="0078D4"/>
      </a:accent1>
      <a:accent2>
        <a:srgbClr val="002050"/>
      </a:accent2>
      <a:accent3>
        <a:srgbClr val="D83B01"/>
      </a:accent3>
      <a:accent4>
        <a:srgbClr val="F37521"/>
      </a:accent4>
      <a:accent5>
        <a:srgbClr val="737373"/>
      </a:accent5>
      <a:accent6>
        <a:srgbClr val="D2D2D2"/>
      </a:accent6>
      <a:hlink>
        <a:srgbClr val="0078D4"/>
      </a:hlink>
      <a:folHlink>
        <a:srgbClr val="0078D4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1600" dirty="0">
            <a:gradFill>
              <a:gsLst>
                <a:gs pos="40075">
                  <a:srgbClr val="FFFFFF"/>
                </a:gs>
                <a:gs pos="3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8_16x9_Breakout_Template.potx" id="{C7000453-3526-4386-9DA2-46B29A4A4A92}" vid="{534B2013-2CEB-4777-BD7E-60DC2D4FD2E8}"/>
    </a:ext>
  </a:extLst>
</a:theme>
</file>

<file path=ppt/theme/theme5.xml><?xml version="1.0" encoding="utf-8"?>
<a:theme xmlns:a="http://schemas.openxmlformats.org/drawingml/2006/main" name="1_5-50109_Microsoft_Light_Template">
  <a:themeElements>
    <a:clrScheme name="Microsoft_2017_Light">
      <a:dk1>
        <a:srgbClr val="353535"/>
      </a:dk1>
      <a:lt1>
        <a:srgbClr val="FFFFFF"/>
      </a:lt1>
      <a:dk2>
        <a:srgbClr val="D83B01"/>
      </a:dk2>
      <a:lt2>
        <a:srgbClr val="E6E6E6"/>
      </a:lt2>
      <a:accent1>
        <a:srgbClr val="D83B01"/>
      </a:accent1>
      <a:accent2>
        <a:srgbClr val="FF8C00"/>
      </a:accent2>
      <a:accent3>
        <a:srgbClr val="FFB900"/>
      </a:accent3>
      <a:accent4>
        <a:srgbClr val="0078D7"/>
      </a:accent4>
      <a:accent5>
        <a:srgbClr val="737373"/>
      </a:accent5>
      <a:accent6>
        <a:srgbClr val="D2D2D2"/>
      </a:accent6>
      <a:hlink>
        <a:srgbClr val="0078D7"/>
      </a:hlink>
      <a:folHlink>
        <a:srgbClr val="0078D7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42DFBAD3-C25F-4FC8-963A-1F73730D7E5C}"/>
    </a:ext>
  </a:extLst>
</a:theme>
</file>

<file path=ppt/theme/theme6.xml><?xml version="1.0" encoding="utf-8"?>
<a:theme xmlns:a="http://schemas.openxmlformats.org/drawingml/2006/main" name="1_Office Theme">
  <a:themeElements>
    <a:clrScheme name="Office 365 SMB 2015">
      <a:dk1>
        <a:srgbClr val="CD2606"/>
      </a:dk1>
      <a:lt1>
        <a:sysClr val="window" lastClr="FFFFFF"/>
      </a:lt1>
      <a:dk2>
        <a:srgbClr val="CD2606"/>
      </a:dk2>
      <a:lt2>
        <a:srgbClr val="15AEEF"/>
      </a:lt2>
      <a:accent1>
        <a:srgbClr val="FD7808"/>
      </a:accent1>
      <a:accent2>
        <a:srgbClr val="0B61CE"/>
      </a:accent2>
      <a:accent3>
        <a:srgbClr val="146C0E"/>
      </a:accent3>
      <a:accent4>
        <a:srgbClr val="073C15"/>
      </a:accent4>
      <a:accent5>
        <a:srgbClr val="A3008C"/>
      </a:accent5>
      <a:accent6>
        <a:srgbClr val="480049"/>
      </a:accent6>
      <a:hlink>
        <a:srgbClr val="CD2606"/>
      </a:hlink>
      <a:folHlink>
        <a:srgbClr val="800080"/>
      </a:folHlink>
    </a:clrScheme>
    <a:fontScheme name="Custom 15">
      <a:majorFont>
        <a:latin typeface="Segoe UI 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365 PPT Template - 2017">
  <a:themeElements>
    <a:clrScheme name="Office17_2">
      <a:dk1>
        <a:srgbClr val="2F2F2F"/>
      </a:dk1>
      <a:lt1>
        <a:srgbClr val="E6E6E6"/>
      </a:lt1>
      <a:dk2>
        <a:srgbClr val="2F2F2F"/>
      </a:dk2>
      <a:lt2>
        <a:srgbClr val="FFFFFF"/>
      </a:lt2>
      <a:accent1>
        <a:srgbClr val="D83B01"/>
      </a:accent1>
      <a:accent2>
        <a:srgbClr val="2F2F2F"/>
      </a:accent2>
      <a:accent3>
        <a:srgbClr val="D2D2D2"/>
      </a:accent3>
      <a:accent4>
        <a:srgbClr val="E6E6E6"/>
      </a:accent4>
      <a:accent5>
        <a:srgbClr val="2F2F2F"/>
      </a:accent5>
      <a:accent6>
        <a:srgbClr val="D2D2D2"/>
      </a:accent6>
      <a:hlink>
        <a:srgbClr val="D83B01"/>
      </a:hlink>
      <a:folHlink>
        <a:srgbClr val="D83B01"/>
      </a:folHlink>
    </a:clrScheme>
    <a:fontScheme name="Custom 25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860E49DB-0E46-4E26-802D-8B7134C2F338}" vid="{2A6A2BA9-42FB-431E-81C9-3FE614E59DFD}"/>
    </a:ext>
  </a:extLst>
</a:theme>
</file>

<file path=ppt/theme/theme8.xml><?xml version="1.0" encoding="utf-8"?>
<a:theme xmlns:a="http://schemas.openxmlformats.org/drawingml/2006/main" name="Skills Enablement">
  <a:themeElements>
    <a:clrScheme name="OfficeSecurity">
      <a:dk1>
        <a:srgbClr val="2C292A"/>
      </a:dk1>
      <a:lt1>
        <a:srgbClr val="F1EFED"/>
      </a:lt1>
      <a:dk2>
        <a:srgbClr val="2C292A"/>
      </a:dk2>
      <a:lt2>
        <a:srgbClr val="FFFFFF"/>
      </a:lt2>
      <a:accent1>
        <a:srgbClr val="D83B01"/>
      </a:accent1>
      <a:accent2>
        <a:srgbClr val="FFC000"/>
      </a:accent2>
      <a:accent3>
        <a:srgbClr val="0078D7"/>
      </a:accent3>
      <a:accent4>
        <a:srgbClr val="2C292A"/>
      </a:accent4>
      <a:accent5>
        <a:srgbClr val="5A5456"/>
      </a:accent5>
      <a:accent6>
        <a:srgbClr val="B2ADAE"/>
      </a:accent6>
      <a:hlink>
        <a:srgbClr val="D83B01"/>
      </a:hlink>
      <a:folHlink>
        <a:srgbClr val="D83B01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Wv2 Aug 2016" id="{E1758B5C-2481-4B6C-82CD-4980BE9082A5}" vid="{1536F915-9CDC-47D5-88AA-2B23F8AE9FE3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7</TotalTime>
  <Words>1046</Words>
  <Application>Microsoft Office PowerPoint</Application>
  <PresentationFormat>Widescreen</PresentationFormat>
  <Paragraphs>223</Paragraphs>
  <Slides>2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50" baseType="lpstr">
      <vt:lpstr>Arial</vt:lpstr>
      <vt:lpstr>Calibri</vt:lpstr>
      <vt:lpstr>Calibri Light</vt:lpstr>
      <vt:lpstr>Consolas</vt:lpstr>
      <vt:lpstr>Lucida Grande</vt:lpstr>
      <vt:lpstr>Myriad Pro</vt:lpstr>
      <vt:lpstr>Segoe UI</vt:lpstr>
      <vt:lpstr>Segoe UI Bold</vt:lpstr>
      <vt:lpstr>Segoe UI Light</vt:lpstr>
      <vt:lpstr>Segoe UI Semibold</vt:lpstr>
      <vt:lpstr>Segoe UI Semilight</vt:lpstr>
      <vt:lpstr>Times New Roman</vt:lpstr>
      <vt:lpstr>Wingdings</vt:lpstr>
      <vt:lpstr>1_RP deck</vt:lpstr>
      <vt:lpstr>2_MWv2 Aug 2016</vt:lpstr>
      <vt:lpstr>1_5-50203_Microsoft_Ignite_Template</vt:lpstr>
      <vt:lpstr>3_5-50203_Microsoft_Ignite_Template</vt:lpstr>
      <vt:lpstr>1_5-50109_Microsoft_Light_Template</vt:lpstr>
      <vt:lpstr>1_Office Theme</vt:lpstr>
      <vt:lpstr>Office 365 PPT Template - 2017</vt:lpstr>
      <vt:lpstr>Skills Enablement</vt:lpstr>
      <vt:lpstr>Office Theme</vt:lpstr>
      <vt:lpstr>Microsoft 365 PPT Template - 2018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nds On Microsoft Teams, Transition from Skype For Business Online</dc:title>
  <dc:creator>Michael Coyle</dc:creator>
  <cp:lastModifiedBy>Michael Coyle</cp:lastModifiedBy>
  <cp:revision>22</cp:revision>
  <dcterms:created xsi:type="dcterms:W3CDTF">2019-03-05T00:20:00Z</dcterms:created>
  <dcterms:modified xsi:type="dcterms:W3CDTF">2019-04-08T11:01:15Z</dcterms:modified>
</cp:coreProperties>
</file>